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</p:sldMasterIdLst>
  <p:notesMasterIdLst>
    <p:notesMasterId r:id="rId22"/>
  </p:notesMasterIdLst>
  <p:sldIdLst>
    <p:sldId id="256" r:id="rId3"/>
    <p:sldId id="1750" r:id="rId4"/>
    <p:sldId id="258" r:id="rId5"/>
    <p:sldId id="1774" r:id="rId6"/>
    <p:sldId id="1777" r:id="rId7"/>
    <p:sldId id="1778" r:id="rId8"/>
    <p:sldId id="1730" r:id="rId9"/>
    <p:sldId id="1724" r:id="rId10"/>
    <p:sldId id="1725" r:id="rId11"/>
    <p:sldId id="1726" r:id="rId12"/>
    <p:sldId id="1727" r:id="rId13"/>
    <p:sldId id="1729" r:id="rId14"/>
    <p:sldId id="1751" r:id="rId15"/>
    <p:sldId id="1776" r:id="rId16"/>
    <p:sldId id="1779" r:id="rId17"/>
    <p:sldId id="1780" r:id="rId18"/>
    <p:sldId id="1728" r:id="rId19"/>
    <p:sldId id="1773" r:id="rId20"/>
    <p:sldId id="1723" r:id="rId21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刘佳伟" initials="刘佳伟" lastIdx="1" clrIdx="0">
    <p:extLst>
      <p:ext uri="{19B8F6BF-5375-455C-9EA6-DF929625EA0E}">
        <p15:presenceInfo xmlns:p15="http://schemas.microsoft.com/office/powerpoint/2012/main" userId="刘佳伟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39E9"/>
    <a:srgbClr val="996633"/>
    <a:srgbClr val="FCBA40"/>
    <a:srgbClr val="39BAE8"/>
    <a:srgbClr val="42BDE9"/>
    <a:srgbClr val="FF83A9"/>
    <a:srgbClr val="FFBFBE"/>
    <a:srgbClr val="92D9F2"/>
    <a:srgbClr val="E6E6E6"/>
    <a:srgbClr val="FFD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88" autoAdjust="0"/>
    <p:restoredTop sz="96201" autoAdjust="0"/>
  </p:normalViewPr>
  <p:slideViewPr>
    <p:cSldViewPr snapToGrid="0">
      <p:cViewPr varScale="1">
        <p:scale>
          <a:sx n="129" d="100"/>
          <a:sy n="129" d="100"/>
        </p:scale>
        <p:origin x="496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0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7431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5101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0.jpeg"/><Relationship Id="rId2" Type="http://schemas.openxmlformats.org/officeDocument/2006/relationships/hyperlink" Target="http://www.officeplus.cn/Template/Home.shtml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fficeplus.cn/Template/Home.shtml" TargetMode="External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>
            <a:extLst>
              <a:ext uri="{FF2B5EF4-FFF2-40B4-BE49-F238E27FC236}">
                <a16:creationId xmlns:a16="http://schemas.microsoft.com/office/drawing/2014/main" id="{CDB8ECEF-8AA4-42EA-91B9-24EB350F76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0829CC21-9B03-4F54-980B-24C46ED79196}"/>
              </a:ext>
            </a:extLst>
          </p:cNvPr>
          <p:cNvSpPr/>
          <p:nvPr userDrawn="1"/>
        </p:nvSpPr>
        <p:spPr>
          <a:xfrm>
            <a:off x="7698671" y="715249"/>
            <a:ext cx="3530051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A2CE12F6-4DF2-40E8-A332-41A64596D872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40" name="Freeform 9">
            <a:extLst>
              <a:ext uri="{FF2B5EF4-FFF2-40B4-BE49-F238E27FC236}">
                <a16:creationId xmlns:a16="http://schemas.microsoft.com/office/drawing/2014/main" id="{B1EAA4D7-2566-4003-9FF5-B0DDAFBA6DB3}"/>
              </a:ext>
            </a:extLst>
          </p:cNvPr>
          <p:cNvSpPr>
            <a:spLocks/>
          </p:cNvSpPr>
          <p:nvPr userDrawn="1"/>
        </p:nvSpPr>
        <p:spPr bwMode="auto">
          <a:xfrm>
            <a:off x="5358307" y="2039469"/>
            <a:ext cx="6070237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C2E8BCB0-2695-45F4-B544-11AF81033D85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EA8F6A47-44E1-46BB-BA10-339B5084D5D0}"/>
              </a:ext>
            </a:extLst>
          </p:cNvPr>
          <p:cNvSpPr/>
          <p:nvPr userDrawn="1"/>
        </p:nvSpPr>
        <p:spPr>
          <a:xfrm>
            <a:off x="0" y="1"/>
            <a:ext cx="4362450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DE040619-F39F-44AE-A60B-08D1066BFEF5}"/>
              </a:ext>
            </a:extLst>
          </p:cNvPr>
          <p:cNvSpPr/>
          <p:nvPr userDrawn="1"/>
        </p:nvSpPr>
        <p:spPr>
          <a:xfrm>
            <a:off x="934647" y="3122083"/>
            <a:ext cx="2611078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Freeform 13">
            <a:extLst>
              <a:ext uri="{FF2B5EF4-FFF2-40B4-BE49-F238E27FC236}">
                <a16:creationId xmlns:a16="http://schemas.microsoft.com/office/drawing/2014/main" id="{4C782D13-E61E-4D14-9A33-F44EA27CA709}"/>
              </a:ext>
            </a:extLst>
          </p:cNvPr>
          <p:cNvSpPr>
            <a:spLocks/>
          </p:cNvSpPr>
          <p:nvPr userDrawn="1"/>
        </p:nvSpPr>
        <p:spPr bwMode="auto">
          <a:xfrm>
            <a:off x="1453964" y="1088581"/>
            <a:ext cx="3427706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F8D7616-45BD-4C83-8015-231C18266E6D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6FA2216-82B7-4F61-8629-CA98E8FA06E1}"/>
              </a:ext>
            </a:extLst>
          </p:cNvPr>
          <p:cNvSpPr/>
          <p:nvPr userDrawn="1"/>
        </p:nvSpPr>
        <p:spPr>
          <a:xfrm>
            <a:off x="3268795" y="992944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262420" y="3120767"/>
            <a:ext cx="5654410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262419" y="1862835"/>
            <a:ext cx="5654410" cy="1257932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62420" y="453010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62419" y="484727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微软黑科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3E71CC84-193F-4D28-98D9-17F9952F968C}"/>
              </a:ext>
            </a:extLst>
          </p:cNvPr>
          <p:cNvCxnSpPr/>
          <p:nvPr userDrawn="1"/>
        </p:nvCxnSpPr>
        <p:spPr>
          <a:xfrm>
            <a:off x="0" y="657288"/>
            <a:ext cx="12192000" cy="0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>
            <a:extLst>
              <a:ext uri="{FF2B5EF4-FFF2-40B4-BE49-F238E27FC236}">
                <a16:creationId xmlns:a16="http://schemas.microsoft.com/office/drawing/2014/main" id="{23A9F197-1133-4CEE-860F-85366976D0AC}"/>
              </a:ext>
            </a:extLst>
          </p:cNvPr>
          <p:cNvSpPr/>
          <p:nvPr userDrawn="1"/>
        </p:nvSpPr>
        <p:spPr>
          <a:xfrm>
            <a:off x="0" y="3091547"/>
            <a:ext cx="12192000" cy="3766453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AA954438-2CEB-4119-883B-8B9196F98504}"/>
              </a:ext>
            </a:extLst>
          </p:cNvPr>
          <p:cNvSpPr/>
          <p:nvPr userDrawn="1"/>
        </p:nvSpPr>
        <p:spPr>
          <a:xfrm>
            <a:off x="621395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4CD1A364-B227-4CFB-9287-6198C6C0443B}"/>
              </a:ext>
            </a:extLst>
          </p:cNvPr>
          <p:cNvSpPr/>
          <p:nvPr userDrawn="1"/>
        </p:nvSpPr>
        <p:spPr>
          <a:xfrm>
            <a:off x="4374467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EA6AD26-5781-4DAD-8C16-8C73B2C177AD}"/>
              </a:ext>
            </a:extLst>
          </p:cNvPr>
          <p:cNvSpPr txBox="1"/>
          <p:nvPr userDrawn="1"/>
        </p:nvSpPr>
        <p:spPr>
          <a:xfrm>
            <a:off x="1656327" y="286129"/>
            <a:ext cx="8879354" cy="6701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600"/>
              </a:spcBef>
            </a:pPr>
            <a:r>
              <a:rPr lang="zh-CN" altLang="en-US" sz="3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微信扫描小程序码，使用微软移动办公黑科技 </a:t>
            </a:r>
            <a:endParaRPr lang="en-US" sz="3200" b="1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2806FD0-33B9-40F1-B8F9-079524CA002C}"/>
              </a:ext>
            </a:extLst>
          </p:cNvPr>
          <p:cNvCxnSpPr>
            <a:cxnSpLocks/>
          </p:cNvCxnSpPr>
          <p:nvPr userDrawn="1"/>
        </p:nvCxnSpPr>
        <p:spPr>
          <a:xfrm flipH="1">
            <a:off x="1523089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159FFD7E-3944-43A3-A5DD-D8673483D044}"/>
              </a:ext>
            </a:extLst>
          </p:cNvPr>
          <p:cNvCxnSpPr>
            <a:cxnSpLocks/>
          </p:cNvCxnSpPr>
          <p:nvPr userDrawn="1"/>
        </p:nvCxnSpPr>
        <p:spPr>
          <a:xfrm flipH="1">
            <a:off x="10402443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C76706F4-B20C-489C-ACB9-010EF43FEF70}"/>
              </a:ext>
            </a:extLst>
          </p:cNvPr>
          <p:cNvSpPr/>
          <p:nvPr userDrawn="1"/>
        </p:nvSpPr>
        <p:spPr>
          <a:xfrm>
            <a:off x="8159751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A11A6D6-1DBD-4A10-8942-D3DDC4E182E9}"/>
              </a:ext>
            </a:extLst>
          </p:cNvPr>
          <p:cNvSpPr txBox="1"/>
          <p:nvPr userDrawn="1"/>
        </p:nvSpPr>
        <p:spPr>
          <a:xfrm>
            <a:off x="987447" y="5138740"/>
            <a:ext cx="2730235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在微信访问</a:t>
            </a:r>
            <a:r>
              <a:rPr lang="en-US" altLang="zh-CN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neDrive</a:t>
            </a: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</a:t>
            </a:r>
            <a:endParaRPr lang="en-US" sz="20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274E825-3465-469E-BD06-097F250CA889}"/>
              </a:ext>
            </a:extLst>
          </p:cNvPr>
          <p:cNvSpPr txBox="1"/>
          <p:nvPr userDrawn="1"/>
        </p:nvSpPr>
        <p:spPr>
          <a:xfrm>
            <a:off x="4862328" y="5138740"/>
            <a:ext cx="2467342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让你的文档会说话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听听文档 」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EC4AC92-2800-4841-84A3-26E495F2D178}"/>
              </a:ext>
            </a:extLst>
          </p:cNvPr>
          <p:cNvSpPr txBox="1"/>
          <p:nvPr userDrawn="1"/>
        </p:nvSpPr>
        <p:spPr>
          <a:xfrm>
            <a:off x="8644425" y="5138740"/>
            <a:ext cx="2492990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你的文档创作小助手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识图 」</a:t>
            </a: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3D082CA-914B-42B8-A86E-16893B7234C9}"/>
              </a:ext>
            </a:extLst>
          </p:cNvPr>
          <p:cNvCxnSpPr/>
          <p:nvPr userDrawn="1"/>
        </p:nvCxnSpPr>
        <p:spPr>
          <a:xfrm>
            <a:off x="419803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5421E3BB-42AC-4DCD-9031-7215136A1844}"/>
              </a:ext>
            </a:extLst>
          </p:cNvPr>
          <p:cNvCxnSpPr/>
          <p:nvPr userDrawn="1"/>
        </p:nvCxnSpPr>
        <p:spPr>
          <a:xfrm>
            <a:off x="797621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图片 21">
            <a:hlinkClick r:id="rId2"/>
            <a:extLst>
              <a:ext uri="{FF2B5EF4-FFF2-40B4-BE49-F238E27FC236}">
                <a16:creationId xmlns:a16="http://schemas.microsoft.com/office/drawing/2014/main" id="{46C855E7-2DCA-4970-A954-7CB7F69FAD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A7F32EC9-ED26-45EE-9DC4-21C3241FF7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716" y="1726788"/>
            <a:ext cx="2743200" cy="27432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6F84124-CE71-4190-B92C-B61E496F7B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82" y="1726788"/>
            <a:ext cx="2743200" cy="274320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39B45288-397E-405A-A715-DCD4FE40DCE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320" y="1726788"/>
            <a:ext cx="27432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7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E3DC02-40DE-4998-B99A-39FCAEB06AC5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687991" y="221524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689107" y="311059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81246B4-0650-4320-A820-B417F479A53E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8E136EA-A8F2-47DA-A96D-77980EAAC351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012BB78F-E5F9-495E-969F-BE08951B2F76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CF4B0F25-8F09-4535-B23E-2A4A5AAB2C37}"/>
              </a:ext>
            </a:extLst>
          </p:cNvPr>
          <p:cNvSpPr/>
          <p:nvPr userDrawn="1"/>
        </p:nvSpPr>
        <p:spPr>
          <a:xfrm>
            <a:off x="0" y="1"/>
            <a:ext cx="3213100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0/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0/7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9B7B4809-6422-487B-B339-AC10E4A5D4B1}"/>
              </a:ext>
            </a:extLst>
          </p:cNvPr>
          <p:cNvGrpSpPr/>
          <p:nvPr userDrawn="1"/>
        </p:nvGrpSpPr>
        <p:grpSpPr>
          <a:xfrm flipH="1">
            <a:off x="0" y="1"/>
            <a:ext cx="12192000" cy="6857999"/>
            <a:chOff x="0" y="1"/>
            <a:chExt cx="12192000" cy="6857999"/>
          </a:xfrm>
        </p:grpSpPr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FA9CED44-D7E4-44D2-B7FD-F89B4DCC6E54}"/>
                </a:ext>
              </a:extLst>
            </p:cNvPr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4BF3A0C-4197-4E26-B94B-4269BB6A25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6F55EC3-3122-4888-ABD7-2A9003A2B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2504953-DBCA-47F8-8B5A-4EF71CB804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5123C0C-7740-4668-9994-48629AE91F14}"/>
                </a:ext>
              </a:extLst>
            </p:cNvPr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DD990525-EB32-44BF-B51C-C218BECA01C2}"/>
                </a:ext>
              </a:extLst>
            </p:cNvPr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5F611E8F-302C-455F-8D3A-3CF52F0DA6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35C86D5-A76F-422D-BD11-9ABEDF688054}"/>
                </a:ext>
              </a:extLst>
            </p:cNvPr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6B4C74D3-0C8F-48A5-80B7-74125884F2E3}"/>
              </a:ext>
            </a:extLst>
          </p:cNvPr>
          <p:cNvSpPr/>
          <p:nvPr userDrawn="1"/>
        </p:nvSpPr>
        <p:spPr>
          <a:xfrm>
            <a:off x="3268795" y="1030768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2034337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340573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4044302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440603" y="759873"/>
            <a:ext cx="1713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1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7B43CCB-1998-4484-B269-9ACB654ACB71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键调整模板颜色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F1532F4-AF97-400D-84E6-F00D2B3D35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A7E11C8-4335-45B0-A270-313A25ABC6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0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45615889-3ACE-4C91-970F-789D759EAC1E}"/>
              </a:ext>
            </a:extLst>
          </p:cNvPr>
          <p:cNvSpPr txBox="1"/>
          <p:nvPr userDrawn="1"/>
        </p:nvSpPr>
        <p:spPr>
          <a:xfrm>
            <a:off x="333477" y="6061002"/>
            <a:ext cx="31838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设计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变体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颜色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D19D40D-978A-4E04-8450-F6DC61B85399}"/>
              </a:ext>
            </a:extLst>
          </p:cNvPr>
          <p:cNvSpPr txBox="1"/>
          <p:nvPr userDrawn="1"/>
        </p:nvSpPr>
        <p:spPr>
          <a:xfrm>
            <a:off x="6360651" y="6061002"/>
            <a:ext cx="45624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喜欢的颜色搭配，模板一秒调整为你选颜色。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299860AF-0C43-4649-A586-85D19517B6F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05928" y="2609333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6130A4D-8EC7-4AC1-B434-55DC6910286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87853" y="42571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547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54DB237-C74A-4BA8-A097-6A053DD3C747}"/>
              </a:ext>
            </a:extLst>
          </p:cNvPr>
          <p:cNvSpPr/>
          <p:nvPr userDrawn="1"/>
        </p:nvSpPr>
        <p:spPr>
          <a:xfrm>
            <a:off x="440603" y="759873"/>
            <a:ext cx="17508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2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4172DAD1-F67C-4AB8-ACEF-004237CB3D3F}"/>
              </a:ext>
            </a:extLst>
          </p:cNvPr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300B558-79C0-475E-84A0-11700A36CA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DFDE997-A67B-4FD0-B6AC-78D1EFE634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1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3E1E676E-E869-48CE-BFB9-1C7FC981B376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时添加模板样式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768A42A-9DCD-4784-A3EF-F1D80ADC183F}"/>
              </a:ext>
            </a:extLst>
          </p:cNvPr>
          <p:cNvSpPr txBox="1"/>
          <p:nvPr userDrawn="1"/>
        </p:nvSpPr>
        <p:spPr>
          <a:xfrm>
            <a:off x="333477" y="6061002"/>
            <a:ext cx="30107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开始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新建幻灯片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F8689A3-CABF-445F-829F-6396154A55D1}"/>
              </a:ext>
            </a:extLst>
          </p:cNvPr>
          <p:cNvSpPr txBox="1"/>
          <p:nvPr userDrawn="1"/>
        </p:nvSpPr>
        <p:spPr>
          <a:xfrm>
            <a:off x="6360651" y="6061002"/>
            <a:ext cx="5256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需要的页面，如封面页，目录页，副标题页，内容页等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7C9996A-24BA-4EE9-BA5A-589E1841918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0878" y="24283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92771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关注微软Office文档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F3BB9638-2D2F-48B1-A8CF-673B237DCC17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120C7C91-35F0-46E5-B511-2314CED2655F}"/>
              </a:ext>
            </a:extLst>
          </p:cNvPr>
          <p:cNvSpPr/>
          <p:nvPr userDrawn="1"/>
        </p:nvSpPr>
        <p:spPr>
          <a:xfrm>
            <a:off x="1079465" y="1527629"/>
            <a:ext cx="3802742" cy="3802742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 descr="图片包含 纵横字谜, 文字&#10;&#10;已生成极高可信度的说明">
            <a:extLst>
              <a:ext uri="{FF2B5EF4-FFF2-40B4-BE49-F238E27FC236}">
                <a16:creationId xmlns:a16="http://schemas.microsoft.com/office/drawing/2014/main" id="{25779B21-3BC1-4E47-8650-6B0E785B51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08065" y="1756229"/>
            <a:ext cx="3345542" cy="3345542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343024A3-25F7-4B9A-9876-36F35421F6E6}"/>
              </a:ext>
            </a:extLst>
          </p:cNvPr>
          <p:cNvSpPr txBox="1"/>
          <p:nvPr userDrawn="1"/>
        </p:nvSpPr>
        <p:spPr>
          <a:xfrm>
            <a:off x="5239657" y="1566506"/>
            <a:ext cx="6013185" cy="35492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办公模板更新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软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信扫码关注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「 微软</a:t>
            </a:r>
            <a:r>
              <a:rPr lang="en-US" altLang="zh-CN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服务号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7" name="图片 6">
            <a:hlinkClick r:id="rId3"/>
            <a:extLst>
              <a:ext uri="{FF2B5EF4-FFF2-40B4-BE49-F238E27FC236}">
                <a16:creationId xmlns:a16="http://schemas.microsoft.com/office/drawing/2014/main" id="{5524D02C-49CE-4D3D-8B89-07CEC3966F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03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0/7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595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ganler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opencv.jp/cookbook/opencv_mat.html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arnopencv.com/find-center-of-blob-centroid-using-opencv-cpp-python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learnopencv.com/how-to-select-a-bounding-box-roi-in-opencv-cpp-python/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coderun.ca/programming/doxygen/opencv/classcv_1_1Mat.html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pencv.org/3.1.0/d3/d63/classcv_1_1Mat.html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262419" y="3829854"/>
            <a:ext cx="5654410" cy="1257932"/>
          </a:xfrm>
        </p:spPr>
        <p:txBody>
          <a:bodyPr>
            <a:normAutofit/>
          </a:bodyPr>
          <a:lstStyle/>
          <a:p>
            <a:r>
              <a:rPr lang="en-US" altLang="zh-CN" b="1" dirty="0">
                <a:latin typeface="Constantia" panose="02030602050306030303" pitchFamily="18" charset="0"/>
              </a:rPr>
              <a:t>Second Training</a:t>
            </a:r>
          </a:p>
          <a:p>
            <a:r>
              <a:rPr lang="en-US" altLang="zh-CN" sz="1600" dirty="0">
                <a:latin typeface="Constantia" panose="02030602050306030303" pitchFamily="18" charset="0"/>
              </a:rPr>
              <a:t>Image &amp; cv::Mat Memory Layout &amp; Thresholding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i="1" dirty="0" err="1"/>
              <a:t>SuperPower</a:t>
            </a:r>
            <a:br>
              <a:rPr lang="en-US" altLang="zh-CN" i="1" dirty="0"/>
            </a:br>
            <a:r>
              <a:rPr lang="en-US" altLang="zh-CN" i="1" dirty="0"/>
              <a:t> </a:t>
            </a:r>
            <a:r>
              <a:rPr lang="en-US" altLang="zh-CN" sz="7300" i="1" dirty="0">
                <a:solidFill>
                  <a:schemeClr val="accent3">
                    <a:lumMod val="75000"/>
                  </a:schemeClr>
                </a:solidFill>
              </a:rPr>
              <a:t>Vision Group</a:t>
            </a:r>
            <a:br>
              <a:rPr lang="en-US" altLang="zh-CN" i="1" dirty="0"/>
            </a:br>
            <a:r>
              <a:rPr lang="en-US" altLang="zh-CN" i="1" dirty="0"/>
              <a:t>Team Training</a:t>
            </a:r>
            <a:endParaRPr lang="zh-CN" altLang="en-US" i="1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268795" y="5367630"/>
            <a:ext cx="5654410" cy="296271"/>
          </a:xfrm>
        </p:spPr>
        <p:txBody>
          <a:bodyPr/>
          <a:lstStyle/>
          <a:p>
            <a:r>
              <a:rPr lang="en-US" altLang="zh-CN" b="1" dirty="0">
                <a:latin typeface="Consolas" panose="020B0609020204030204" pitchFamily="49" charset="0"/>
              </a:rPr>
              <a:t>Jiawei Liu =&gt; </a:t>
            </a:r>
            <a:r>
              <a:rPr lang="en-US" altLang="zh-CN" u="sng" dirty="0">
                <a:solidFill>
                  <a:schemeClr val="accent3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jaway.liu@gmail.com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6599F528-7348-4F9C-9FC9-A69C4B565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8794" y="5684800"/>
            <a:ext cx="5654410" cy="296271"/>
          </a:xfrm>
        </p:spPr>
        <p:txBody>
          <a:bodyPr/>
          <a:lstStyle/>
          <a:p>
            <a:r>
              <a:rPr lang="en-US" altLang="zh-CN" dirty="0">
                <a:latin typeface="Bookman Old Style" panose="02050604050505020204" pitchFamily="18" charset="0"/>
              </a:rPr>
              <a:t>2019/10/07</a:t>
            </a:r>
            <a:endParaRPr lang="zh-CN" altLang="en-US" dirty="0">
              <a:latin typeface="Bookman Old Style" panose="02050604050505020204" pitchFamily="18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A53D3C1-81FF-424D-9FC7-F6B4982CE30C}"/>
              </a:ext>
            </a:extLst>
          </p:cNvPr>
          <p:cNvSpPr txBox="1"/>
          <p:nvPr/>
        </p:nvSpPr>
        <p:spPr>
          <a:xfrm>
            <a:off x="282632" y="266008"/>
            <a:ext cx="2710999" cy="646331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chemeClr val="tx1"/>
                </a:solidFill>
                <a:effectLst>
                  <a:glow rad="101600">
                    <a:schemeClr val="accent2">
                      <a:satMod val="175000"/>
                      <a:alpha val="40000"/>
                    </a:schemeClr>
                  </a:glow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onstantia" panose="02030602050306030303" pitchFamily="18" charset="0"/>
              </a:rPr>
              <a:t>Please star this guy QAQ </a:t>
            </a:r>
          </a:p>
          <a:p>
            <a:r>
              <a:rPr lang="en-US" altLang="zh-CN" dirty="0">
                <a:hlinkClick r:id="rId8"/>
              </a:rPr>
              <a:t>https://github.com/ganler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52ACF54-ED63-46F5-9B09-1D5A8C7C6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v::Mat Iteratio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4C06356-E076-451E-9D52-67E68AF89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Picture 2" descr="_images / continuous_discontinuous.png">
            <a:extLst>
              <a:ext uri="{FF2B5EF4-FFF2-40B4-BE49-F238E27FC236}">
                <a16:creationId xmlns:a16="http://schemas.microsoft.com/office/drawing/2014/main" id="{D53FEAAD-D065-4594-A98C-F2B5DD722B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003" y="1419891"/>
            <a:ext cx="4140200" cy="3763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1A274756-9F42-4EF3-8A46-57B9E7859DF2}"/>
              </a:ext>
            </a:extLst>
          </p:cNvPr>
          <p:cNvSpPr/>
          <p:nvPr/>
        </p:nvSpPr>
        <p:spPr>
          <a:xfrm>
            <a:off x="516284" y="6125099"/>
            <a:ext cx="46046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3"/>
              </a:rPr>
              <a:t>http://opencv.jp/cookbook/opencv_mat.html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5194755-6144-49D6-A363-EC2EB390EB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7485" y="1301047"/>
            <a:ext cx="7399899" cy="4157065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5E0DE908-8FD6-4C51-A548-FA708DE601B9}"/>
              </a:ext>
            </a:extLst>
          </p:cNvPr>
          <p:cNvSpPr txBox="1"/>
          <p:nvPr/>
        </p:nvSpPr>
        <p:spPr>
          <a:xfrm>
            <a:off x="7549869" y="1612796"/>
            <a:ext cx="4006225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solidFill>
                  <a:srgbClr val="FFC000"/>
                </a:solidFill>
              </a:rPr>
              <a:t>Iterate each pixels of a gray image.</a:t>
            </a:r>
          </a:p>
          <a:p>
            <a:r>
              <a:rPr lang="en-US" altLang="zh-CN" b="1" dirty="0">
                <a:solidFill>
                  <a:srgbClr val="FFC000"/>
                </a:solidFill>
              </a:rPr>
              <a:t>And apply </a:t>
            </a:r>
            <a:r>
              <a:rPr lang="en-US" altLang="zh-CN" sz="2000" b="1" dirty="0" err="1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</a:t>
            </a:r>
            <a:r>
              <a:rPr lang="en-US" altLang="zh-CN" b="1" dirty="0">
                <a:solidFill>
                  <a:srgbClr val="FFC000"/>
                </a:solidFill>
              </a:rPr>
              <a:t> to them.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7FE1C77D-F694-460E-958D-F5F340783667}"/>
              </a:ext>
            </a:extLst>
          </p:cNvPr>
          <p:cNvSpPr/>
          <p:nvPr/>
        </p:nvSpPr>
        <p:spPr>
          <a:xfrm>
            <a:off x="6489812" y="4685288"/>
            <a:ext cx="4644829" cy="497660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u="sng" dirty="0">
                <a:solidFill>
                  <a:schemeClr val="tx1"/>
                </a:solidFill>
              </a:rPr>
              <a:t>What about N-channel image iteration ?</a:t>
            </a:r>
            <a:endParaRPr lang="zh-CN" altLang="en-US" b="1" u="sng" dirty="0">
              <a:solidFill>
                <a:schemeClr val="tx1"/>
              </a:solidFill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888A9AC1-14D7-49F0-80A7-38E4A79D64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7094" y="1231082"/>
            <a:ext cx="9751121" cy="4560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643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433E197-8B87-45F4-802A-40910C6E3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v::Mat is just a big chunk of memory. </a:t>
            </a:r>
            <a:br>
              <a:rPr lang="en-US" altLang="zh-CN" dirty="0"/>
            </a:br>
            <a:r>
              <a:rPr lang="en-US" altLang="zh-CN" dirty="0"/>
              <a:t>What it is depends on how U view it.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29FFBE8-8815-40F5-9BAF-E7A6EDA3B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E14EE4F-0B45-4E83-A5C8-244F3EF87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970B52BA-0CD1-47A3-9E34-A86F50825663}"/>
              </a:ext>
            </a:extLst>
          </p:cNvPr>
          <p:cNvGraphicFramePr>
            <a:graphicFrameLocks noGrp="1"/>
          </p:cNvGraphicFramePr>
          <p:nvPr/>
        </p:nvGraphicFramePr>
        <p:xfrm>
          <a:off x="5703211" y="1409541"/>
          <a:ext cx="5817276" cy="445008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484773">
                  <a:extLst>
                    <a:ext uri="{9D8B030D-6E8A-4147-A177-3AD203B41FA5}">
                      <a16:colId xmlns:a16="http://schemas.microsoft.com/office/drawing/2014/main" val="294867325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70507595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3681241240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05634022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68065563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538408941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37164599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03830776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683982335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24617891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151179042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7784821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9108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601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16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3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499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825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633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643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724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3938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2026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622463"/>
                  </a:ext>
                </a:extLst>
              </a:tr>
            </a:tbl>
          </a:graphicData>
        </a:graphic>
      </p:graphicFrame>
      <p:pic>
        <p:nvPicPr>
          <p:cNvPr id="10" name="图片 9">
            <a:extLst>
              <a:ext uri="{FF2B5EF4-FFF2-40B4-BE49-F238E27FC236}">
                <a16:creationId xmlns:a16="http://schemas.microsoft.com/office/drawing/2014/main" id="{1CF7C000-7826-47BE-923C-852794B5E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10" r="3939"/>
          <a:stretch/>
        </p:blipFill>
        <p:spPr>
          <a:xfrm>
            <a:off x="1109378" y="1409541"/>
            <a:ext cx="3138510" cy="595317"/>
          </a:xfrm>
          <a:prstGeom prst="rect">
            <a:avLst/>
          </a:prstGeom>
        </p:spPr>
      </p:pic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B490E301-E488-486C-B385-3E88667A3487}"/>
              </a:ext>
            </a:extLst>
          </p:cNvPr>
          <p:cNvCxnSpPr>
            <a:cxnSpLocks/>
          </p:cNvCxnSpPr>
          <p:nvPr/>
        </p:nvCxnSpPr>
        <p:spPr>
          <a:xfrm>
            <a:off x="4310950" y="1591887"/>
            <a:ext cx="1329199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15" name="图片 14">
            <a:extLst>
              <a:ext uri="{FF2B5EF4-FFF2-40B4-BE49-F238E27FC236}">
                <a16:creationId xmlns:a16="http://schemas.microsoft.com/office/drawing/2014/main" id="{66966E9E-6461-47C8-84C5-0C17242E6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378" y="2157366"/>
            <a:ext cx="3138510" cy="604842"/>
          </a:xfrm>
          <a:prstGeom prst="rect">
            <a:avLst/>
          </a:prstGeom>
        </p:spPr>
      </p:pic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8D43F0E1-B693-43EE-A9A9-FB41130969A4}"/>
              </a:ext>
            </a:extLst>
          </p:cNvPr>
          <p:cNvCxnSpPr>
            <a:cxnSpLocks/>
          </p:cNvCxnSpPr>
          <p:nvPr/>
        </p:nvCxnSpPr>
        <p:spPr>
          <a:xfrm>
            <a:off x="4341377" y="2385699"/>
            <a:ext cx="1298772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1677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281A5FE-ABFE-4E91-8F2C-702887385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CV</a:t>
            </a:r>
            <a:r>
              <a:rPr lang="zh-CN" altLang="en-US" dirty="0"/>
              <a:t> </a:t>
            </a:r>
            <a:r>
              <a:rPr lang="en-US" altLang="zh-CN" dirty="0"/>
              <a:t>function styl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A3B5968-2A02-4EEB-988D-046D50232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43F2751-ABD8-41F9-A533-83A9352CD5E3}"/>
              </a:ext>
            </a:extLst>
          </p:cNvPr>
          <p:cNvSpPr txBox="1"/>
          <p:nvPr/>
        </p:nvSpPr>
        <p:spPr>
          <a:xfrm>
            <a:off x="2662277" y="3871455"/>
            <a:ext cx="107017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ome times U use a function and get a </a:t>
            </a:r>
            <a:r>
              <a:rPr lang="en-US" altLang="zh-CN" dirty="0" err="1"/>
              <a:t>mat_out</a:t>
            </a:r>
            <a:r>
              <a:rPr lang="en-US" altLang="zh-CN" dirty="0"/>
              <a:t>. </a:t>
            </a:r>
          </a:p>
          <a:p>
            <a:r>
              <a:rPr lang="en-US" altLang="zh-CN" dirty="0"/>
              <a:t>Now U may want to know how should we view this, right?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62D2DE7-7E43-43C5-AD97-A384504C08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205652"/>
            <a:ext cx="10851996" cy="236293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3A1A71A-868E-4BE0-A4A3-3FAA04CEC4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0121" y="1205652"/>
            <a:ext cx="5020138" cy="5562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7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resholding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CAD3BF3-B437-49B8-8FEF-BBCA13047E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6519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E99C59E-9DF1-41EF-A649-7C88B4BDD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resholding using Fixed Valu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3AC0859-D5B7-40E2-837F-D1296F3AC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2050" name="Picture 2" descr="https://img-blog.csdn.net/20151018230800487">
            <a:extLst>
              <a:ext uri="{FF2B5EF4-FFF2-40B4-BE49-F238E27FC236}">
                <a16:creationId xmlns:a16="http://schemas.microsoft.com/office/drawing/2014/main" id="{E8676992-D0F0-4078-AB68-FB5973300C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996" y="1543829"/>
            <a:ext cx="4248230" cy="538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3A313527-7E91-4135-91DB-5AA7B5605F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2041" y="1028700"/>
            <a:ext cx="6481810" cy="5910306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BED3C13C-01EA-4CBD-901B-A6D6AC51522D}"/>
              </a:ext>
            </a:extLst>
          </p:cNvPr>
          <p:cNvSpPr txBox="1"/>
          <p:nvPr/>
        </p:nvSpPr>
        <p:spPr>
          <a:xfrm>
            <a:off x="482912" y="3466407"/>
            <a:ext cx="4879221" cy="46166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altLang="zh-CN" sz="2400" b="1" dirty="0">
                <a:solidFill>
                  <a:schemeClr val="accent3">
                    <a:lumMod val="75000"/>
                  </a:schemeClr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Constantia" panose="02030602050306030303" pitchFamily="18" charset="0"/>
              </a:rPr>
              <a:t>Convert </a:t>
            </a:r>
            <a:r>
              <a:rPr lang="en-US" altLang="zh-CN" sz="2400" b="1" dirty="0" err="1">
                <a:solidFill>
                  <a:schemeClr val="accent3">
                    <a:lumMod val="75000"/>
                  </a:schemeClr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Constantia" panose="02030602050306030303" pitchFamily="18" charset="0"/>
              </a:rPr>
              <a:t>ur</a:t>
            </a:r>
            <a:r>
              <a:rPr lang="en-US" altLang="zh-CN" sz="2400" b="1" dirty="0">
                <a:solidFill>
                  <a:schemeClr val="accent3">
                    <a:lumMod val="75000"/>
                  </a:schemeClr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Constantia" panose="02030602050306030303" pitchFamily="18" charset="0"/>
              </a:rPr>
              <a:t> mat to grayscale first!</a:t>
            </a:r>
            <a:endParaRPr lang="zh-CN" altLang="en-US" sz="2400" b="1" dirty="0">
              <a:solidFill>
                <a:schemeClr val="accent3">
                  <a:lumMod val="75000"/>
                </a:schemeClr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Constantia" panose="02030602050306030303" pitchFamily="18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A133799-5FAE-4309-BBE2-C505823093BE}"/>
              </a:ext>
            </a:extLst>
          </p:cNvPr>
          <p:cNvSpPr/>
          <p:nvPr/>
        </p:nvSpPr>
        <p:spPr>
          <a:xfrm>
            <a:off x="6691745" y="2996738"/>
            <a:ext cx="4572000" cy="206381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42960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4FD4BB-722C-4095-B3FA-A214518C3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hat if we want the most “bright” pixels of a imag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4028BFE-C390-4376-B81A-63D20A152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0BAD50F-22E7-42F8-BAB6-69CE89C722EB}"/>
              </a:ext>
            </a:extLst>
          </p:cNvPr>
          <p:cNvSpPr txBox="1"/>
          <p:nvPr/>
        </p:nvSpPr>
        <p:spPr>
          <a:xfrm>
            <a:off x="2640040" y="5417819"/>
            <a:ext cx="662232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i.g</a:t>
            </a:r>
            <a:r>
              <a:rPr lang="en-US" altLang="zh-CN" dirty="0"/>
              <a:t>. I want the top 40% pixels to be </a:t>
            </a:r>
            <a:r>
              <a:rPr lang="en-US" altLang="zh-CN" b="1" i="1" dirty="0" err="1"/>
              <a:t>max_val</a:t>
            </a:r>
            <a:r>
              <a:rPr lang="en-US" altLang="zh-CN" b="1" i="1" dirty="0"/>
              <a:t> </a:t>
            </a:r>
            <a:r>
              <a:rPr lang="en-US" altLang="zh-CN" dirty="0"/>
              <a:t>while others are 0.</a:t>
            </a:r>
            <a:endParaRPr lang="en-US" altLang="zh-CN" b="1" i="1" dirty="0"/>
          </a:p>
          <a:p>
            <a:pPr algn="ctr"/>
            <a:r>
              <a:rPr lang="en-US" altLang="zh-CN" b="1" i="1" dirty="0"/>
              <a:t>What should we do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b="1" i="1" dirty="0"/>
              <a:t>Fast iteration(in slide 10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b="1" i="1" dirty="0"/>
              <a:t>Any optimization if &amp;in == &amp;out?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3588867-9AD0-4F6A-A6F6-09DFE1718F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527" y="1070897"/>
            <a:ext cx="8206037" cy="438290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45CA9683-A5BA-4438-9A43-6CD0A8231CFF}"/>
              </a:ext>
            </a:extLst>
          </p:cNvPr>
          <p:cNvSpPr txBox="1"/>
          <p:nvPr/>
        </p:nvSpPr>
        <p:spPr>
          <a:xfrm>
            <a:off x="1955878" y="2892966"/>
            <a:ext cx="399532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chemeClr val="accent3">
                    <a:lumMod val="75000"/>
                  </a:schemeClr>
                </a:solidFill>
                <a:latin typeface="Constantia" panose="02030602050306030303" pitchFamily="18" charset="0"/>
              </a:rPr>
              <a:t>This is easy and u can have</a:t>
            </a:r>
          </a:p>
          <a:p>
            <a:r>
              <a:rPr lang="en-US" altLang="zh-CN" sz="2400" dirty="0">
                <a:solidFill>
                  <a:schemeClr val="accent3">
                    <a:lumMod val="75000"/>
                  </a:schemeClr>
                </a:solidFill>
                <a:latin typeface="Constantia" panose="02030602050306030303" pitchFamily="18" charset="0"/>
              </a:rPr>
              <a:t> this done in 25 lines of code.</a:t>
            </a:r>
            <a:endParaRPr lang="zh-CN" altLang="en-US" sz="2400" dirty="0">
              <a:solidFill>
                <a:schemeClr val="accent3">
                  <a:lumMod val="75000"/>
                </a:schemeClr>
              </a:solidFill>
              <a:latin typeface="Constantia" panose="020306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713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13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8">
            <a:extLst>
              <a:ext uri="{FF2B5EF4-FFF2-40B4-BE49-F238E27FC236}">
                <a16:creationId xmlns:a16="http://schemas.microsoft.com/office/drawing/2014/main" id="{90C4B1E0-B460-4837-933B-97BACBB6F759}"/>
              </a:ext>
            </a:extLst>
          </p:cNvPr>
          <p:cNvSpPr txBox="1">
            <a:spLocks/>
          </p:cNvSpPr>
          <p:nvPr/>
        </p:nvSpPr>
        <p:spPr>
          <a:xfrm>
            <a:off x="2986392" y="637775"/>
            <a:ext cx="5881285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000" b="1" dirty="0">
                <a:solidFill>
                  <a:srgbClr val="FFFFFF"/>
                </a:solidFill>
                <a:latin typeface="Cascadia Code" panose="020B0509020204030204" pitchFamily="49" charset="0"/>
              </a:rPr>
              <a:t>Today’s LIVE coding</a:t>
            </a:r>
            <a:endParaRPr kumimoji="0" lang="en-US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scadia Code" panose="020B0509020204030204" pitchFamily="49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1F8E5B8-CDF4-4DF3-8EAC-81B3E5F7398A}"/>
              </a:ext>
            </a:extLst>
          </p:cNvPr>
          <p:cNvSpPr/>
          <p:nvPr/>
        </p:nvSpPr>
        <p:spPr>
          <a:xfrm>
            <a:off x="544669" y="1815881"/>
            <a:ext cx="11354390" cy="31085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OOD: </a:t>
            </a:r>
          </a:p>
          <a:p>
            <a:endParaRPr lang="en-US" altLang="zh-CN" sz="2800" dirty="0">
              <a:solidFill>
                <a:schemeClr val="accent2">
                  <a:lumMod val="60000"/>
                  <a:lumOff val="4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r>
              <a:rPr lang="en-US" altLang="zh-CN" sz="2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ascadia Code" panose="020B0509020204030204" pitchFamily="49" charset="0"/>
                <a:ea typeface="Cambria Math" panose="02040503050406030204" pitchFamily="18" charset="0"/>
              </a:rPr>
              <a:t>Class     =&gt;   timer</a:t>
            </a:r>
          </a:p>
          <a:p>
            <a:r>
              <a:rPr lang="en-US" altLang="zh-CN" sz="2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ascadia Code" panose="020B0509020204030204" pitchFamily="49" charset="0"/>
                <a:ea typeface="Cambria Math" panose="02040503050406030204" pitchFamily="18" charset="0"/>
              </a:rPr>
              <a:t>Methods   =&gt;</a:t>
            </a:r>
          </a:p>
          <a:p>
            <a:r>
              <a:rPr lang="en-US" altLang="zh-CN" sz="2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ascadia Code" panose="020B0509020204030204" pitchFamily="49" charset="0"/>
                <a:ea typeface="Cambria Math" panose="02040503050406030204" pitchFamily="18" charset="0"/>
              </a:rPr>
              <a:t>			  timer()</a:t>
            </a:r>
          </a:p>
          <a:p>
            <a:r>
              <a:rPr lang="en-US" altLang="zh-CN" sz="2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ascadia Code" panose="020B0509020204030204" pitchFamily="49" charset="0"/>
                <a:ea typeface="Cambria Math" panose="02040503050406030204" pitchFamily="18" charset="0"/>
              </a:rPr>
              <a:t>			  get</a:t>
            </a:r>
            <a:r>
              <a:rPr lang="en-US" altLang="zh-CN" sz="2800" dirty="0">
                <a:solidFill>
                  <a:schemeClr val="accent2">
                    <a:lumMod val="75000"/>
                  </a:schemeClr>
                </a:solidFill>
                <a:latin typeface="Cascadia Code" panose="020B0509020204030204" pitchFamily="49" charset="0"/>
                <a:ea typeface="Cambria Math" panose="02040503050406030204" pitchFamily="18" charset="0"/>
              </a:rPr>
              <a:t>&lt;</a:t>
            </a:r>
            <a:r>
              <a:rPr lang="en-US" altLang="zh-CN" sz="2800" dirty="0" err="1">
                <a:solidFill>
                  <a:schemeClr val="accent2">
                    <a:lumMod val="75000"/>
                  </a:schemeClr>
                </a:solidFill>
                <a:latin typeface="Cascadia Code" panose="020B0509020204030204" pitchFamily="49" charset="0"/>
                <a:ea typeface="Cambria Math" panose="02040503050406030204" pitchFamily="18" charset="0"/>
              </a:rPr>
              <a:t>time_t</a:t>
            </a:r>
            <a:r>
              <a:rPr lang="en-US" altLang="zh-CN" sz="2800" dirty="0">
                <a:solidFill>
                  <a:schemeClr val="accent2">
                    <a:lumMod val="75000"/>
                  </a:schemeClr>
                </a:solidFill>
                <a:latin typeface="Cascadia Code" panose="020B0509020204030204" pitchFamily="49" charset="0"/>
                <a:ea typeface="Cambria Math" panose="02040503050406030204" pitchFamily="18" charset="0"/>
              </a:rPr>
              <a:t>&gt;</a:t>
            </a:r>
            <a:r>
              <a:rPr lang="en-US" altLang="zh-CN" sz="2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ascadia Code" panose="020B0509020204030204" pitchFamily="49" charset="0"/>
                <a:ea typeface="Cambria Math" panose="02040503050406030204" pitchFamily="18" charset="0"/>
              </a:rPr>
              <a:t>()  </a:t>
            </a:r>
            <a:r>
              <a:rPr lang="en-US" altLang="zh-CN" sz="2800" dirty="0">
                <a:solidFill>
                  <a:srgbClr val="00B050"/>
                </a:solidFill>
                <a:latin typeface="Cascadia Code" panose="020B0509020204030204" pitchFamily="49" charset="0"/>
                <a:ea typeface="Cambria Math" panose="02040503050406030204" pitchFamily="18" charset="0"/>
              </a:rPr>
              <a:t>// Nano-Micro-Milli-Sec</a:t>
            </a:r>
          </a:p>
          <a:p>
            <a:r>
              <a:rPr lang="en-US" altLang="zh-CN" sz="2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ascadia Code" panose="020B0509020204030204" pitchFamily="49" charset="0"/>
                <a:ea typeface="Cambria Math" panose="02040503050406030204" pitchFamily="18" charset="0"/>
              </a:rPr>
              <a:t>			  reset()</a:t>
            </a:r>
          </a:p>
        </p:txBody>
      </p:sp>
      <p:sp>
        <p:nvSpPr>
          <p:cNvPr id="6" name="立方体 5">
            <a:extLst>
              <a:ext uri="{FF2B5EF4-FFF2-40B4-BE49-F238E27FC236}">
                <a16:creationId xmlns:a16="http://schemas.microsoft.com/office/drawing/2014/main" id="{0D719C9D-1EA6-43F7-A8ED-7B4B987B1357}"/>
              </a:ext>
            </a:extLst>
          </p:cNvPr>
          <p:cNvSpPr/>
          <p:nvPr/>
        </p:nvSpPr>
        <p:spPr>
          <a:xfrm>
            <a:off x="150778" y="4980561"/>
            <a:ext cx="3506823" cy="1741251"/>
          </a:xfrm>
          <a:prstGeom prst="cube">
            <a:avLst/>
          </a:prstGeom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dirty="0" err="1">
                <a:latin typeface="Cascadia Code" panose="020B0509020204030204" pitchFamily="49" charset="0"/>
              </a:rPr>
              <a:t>clk_t</a:t>
            </a:r>
            <a:r>
              <a:rPr lang="en-US" altLang="zh-CN" sz="2000" dirty="0">
                <a:latin typeface="Cascadia Code" panose="020B0509020204030204" pitchFamily="49" charset="0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600" dirty="0" err="1">
                <a:latin typeface="Cascadia Code" panose="020B0509020204030204" pitchFamily="49" charset="0"/>
              </a:rPr>
              <a:t>system_clock</a:t>
            </a:r>
            <a:endParaRPr lang="en-US" altLang="zh-CN" sz="1600" dirty="0">
              <a:latin typeface="Cascadia Code" panose="020B0509020204030204" pitchFamily="49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600" dirty="0" err="1">
                <a:latin typeface="Cascadia Code" panose="020B0509020204030204" pitchFamily="49" charset="0"/>
              </a:rPr>
              <a:t>steady_clock</a:t>
            </a:r>
            <a:endParaRPr lang="en-US" altLang="zh-CN" sz="1600" dirty="0">
              <a:latin typeface="Cascadia Code" panose="020B0509020204030204" pitchFamily="49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600" dirty="0" err="1">
                <a:latin typeface="Cascadia Code" panose="020B0509020204030204" pitchFamily="49" charset="0"/>
              </a:rPr>
              <a:t>high_resolution_clock</a:t>
            </a:r>
            <a:endParaRPr lang="zh-CN" altLang="en-US" sz="1600" dirty="0">
              <a:latin typeface="Cascadia Code" panose="020B0509020204030204" pitchFamily="49" charset="0"/>
            </a:endParaRPr>
          </a:p>
        </p:txBody>
      </p:sp>
      <p:sp>
        <p:nvSpPr>
          <p:cNvPr id="7" name="立方体 6">
            <a:extLst>
              <a:ext uri="{FF2B5EF4-FFF2-40B4-BE49-F238E27FC236}">
                <a16:creationId xmlns:a16="http://schemas.microsoft.com/office/drawing/2014/main" id="{6B48EB0C-A5C4-424B-A979-D94911B32E02}"/>
              </a:ext>
            </a:extLst>
          </p:cNvPr>
          <p:cNvSpPr/>
          <p:nvPr/>
        </p:nvSpPr>
        <p:spPr>
          <a:xfrm>
            <a:off x="4085617" y="5749046"/>
            <a:ext cx="7777264" cy="756529"/>
          </a:xfrm>
          <a:prstGeom prst="cub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latin typeface="Cascadia Code" panose="020B0509020204030204" pitchFamily="49" charset="0"/>
              </a:rPr>
              <a:t>2 </a:t>
            </a:r>
            <a:r>
              <a:rPr lang="en-US" altLang="zh-CN" dirty="0" err="1">
                <a:latin typeface="Cascadia Code" panose="020B0509020204030204" pitchFamily="49" charset="0"/>
              </a:rPr>
              <a:t>clk_t</a:t>
            </a:r>
            <a:r>
              <a:rPr lang="en-US" altLang="zh-CN" dirty="0">
                <a:latin typeface="Cascadia Code" panose="020B0509020204030204" pitchFamily="49" charset="0"/>
              </a:rPr>
              <a:t>::</a:t>
            </a:r>
            <a:r>
              <a:rPr lang="en-US" altLang="zh-CN" dirty="0" err="1">
                <a:latin typeface="Cascadia Code" panose="020B0509020204030204" pitchFamily="49" charset="0"/>
              </a:rPr>
              <a:t>time_point</a:t>
            </a:r>
            <a:r>
              <a:rPr lang="en-US" altLang="zh-CN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tantia" panose="02030602050306030303" pitchFamily="18" charset="0"/>
              </a:rPr>
              <a:t>s</a:t>
            </a:r>
            <a:r>
              <a:rPr lang="en-US" altLang="zh-CN" dirty="0">
                <a:latin typeface="Cascadia Code" panose="020B0509020204030204" pitchFamily="49" charset="0"/>
              </a:rPr>
              <a:t> =&gt; (</a:t>
            </a:r>
            <a:r>
              <a:rPr lang="en-US" altLang="zh-CN" dirty="0" err="1">
                <a:latin typeface="Cascadia Code" panose="020B0509020204030204" pitchFamily="49" charset="0"/>
              </a:rPr>
              <a:t>some_cast</a:t>
            </a:r>
            <a:r>
              <a:rPr lang="en-US" altLang="zh-CN" dirty="0">
                <a:latin typeface="Cascadia Code" panose="020B0509020204030204" pitchFamily="49" charset="0"/>
              </a:rPr>
              <a:t>) =&gt; time period</a:t>
            </a:r>
          </a:p>
        </p:txBody>
      </p:sp>
    </p:spTree>
    <p:extLst>
      <p:ext uri="{BB962C8B-B14F-4D97-AF65-F5344CB8AC3E}">
        <p14:creationId xmlns:p14="http://schemas.microsoft.com/office/powerpoint/2010/main" val="2388893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94424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ASSIGNMENTS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12C0E17-1E23-4814-9E50-737201B4A8EB}"/>
              </a:ext>
            </a:extLst>
          </p:cNvPr>
          <p:cNvSpPr txBox="1"/>
          <p:nvPr/>
        </p:nvSpPr>
        <p:spPr>
          <a:xfrm>
            <a:off x="631141" y="1539786"/>
            <a:ext cx="1068248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altLang="zh-CN" sz="20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portion_thresh_test.cpp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Implementation of </a:t>
            </a:r>
            <a:r>
              <a:rPr lang="en-US" altLang="zh-CN" sz="2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altLang="zh-CN" sz="2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portion_thresh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(slide 14) with certain test cases(</a:t>
            </a:r>
            <a:r>
              <a:rPr lang="en-US" altLang="zh-CN" sz="2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pecially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edge cases).</a:t>
            </a:r>
          </a:p>
          <a:p>
            <a:pPr marL="342900" indent="-342900">
              <a:buAutoNum type="arabicPeriod"/>
            </a:pP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altLang="zh-CN" sz="20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nter.md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Self learning1:</a:t>
            </a:r>
            <a:r>
              <a:rPr lang="en-US" altLang="zh-CN" dirty="0">
                <a:hlinkClick r:id="rId3"/>
              </a:rPr>
              <a:t>https://www.learnopencv.com/find-center-of-blob-centroid-using-opencv-cpp-python/</a:t>
            </a:r>
            <a:r>
              <a:rPr lang="en-US" altLang="zh-CN" dirty="0"/>
              <a:t> </a:t>
            </a:r>
            <a:r>
              <a:rPr lang="en-US" altLang="zh-CN" u="sng" dirty="0">
                <a:solidFill>
                  <a:srgbClr val="FCBA40"/>
                </a:solidFill>
              </a:rPr>
              <a:t>(Use markdown written in Chinese/English)</a:t>
            </a:r>
          </a:p>
          <a:p>
            <a:pPr marL="342900" indent="-342900">
              <a:buFontTx/>
              <a:buAutoNum type="arabicPeriod"/>
            </a:pP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altLang="zh-CN" sz="20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I.md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Self learning2:</a:t>
            </a:r>
            <a:r>
              <a:rPr lang="en-US" altLang="zh-CN" sz="2000" dirty="0">
                <a:hlinkClick r:id="rId4"/>
              </a:rPr>
              <a:t> </a:t>
            </a:r>
            <a:r>
              <a:rPr lang="en-US" altLang="zh-CN" dirty="0">
                <a:hlinkClick r:id="rId4"/>
              </a:rPr>
              <a:t>https://www.learnopencv.com/how-to-select-a-bounding-box-roi-in-opencv-cpp-python/</a:t>
            </a:r>
            <a:r>
              <a:rPr lang="en-US" altLang="zh-CN" dirty="0"/>
              <a:t> </a:t>
            </a:r>
            <a:r>
              <a:rPr lang="en-US" altLang="zh-CN" u="sng" dirty="0">
                <a:solidFill>
                  <a:srgbClr val="FCBA40"/>
                </a:solidFill>
              </a:rPr>
              <a:t>(Use markdown written in Chinese/English)</a:t>
            </a:r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r>
              <a:rPr lang="en-US" altLang="zh-CN" b="1" dirty="0"/>
              <a:t>DDL</a:t>
            </a:r>
          </a:p>
          <a:p>
            <a:pPr algn="ctr"/>
            <a:r>
              <a:rPr lang="en-US" altLang="zh-CN" sz="8000" dirty="0">
                <a:latin typeface="Cambria Math" panose="02040503050406030204" pitchFamily="18" charset="0"/>
                <a:ea typeface="Cambria Math" panose="02040503050406030204" pitchFamily="18" charset="0"/>
              </a:rPr>
              <a:t>2019/10/13</a:t>
            </a:r>
            <a:endParaRPr lang="zh-CN" altLang="en-US" sz="8000" dirty="0">
              <a:latin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7950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CBA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8">
            <a:extLst>
              <a:ext uri="{FF2B5EF4-FFF2-40B4-BE49-F238E27FC236}">
                <a16:creationId xmlns:a16="http://schemas.microsoft.com/office/drawing/2014/main" id="{64450C6E-6BC0-46FA-A735-04F3397B2256}"/>
              </a:ext>
            </a:extLst>
          </p:cNvPr>
          <p:cNvSpPr txBox="1">
            <a:spLocks/>
          </p:cNvSpPr>
          <p:nvPr/>
        </p:nvSpPr>
        <p:spPr>
          <a:xfrm>
            <a:off x="646034" y="964801"/>
            <a:ext cx="11037504" cy="2746832"/>
          </a:xfrm>
          <a:prstGeom prst="rect">
            <a:avLst/>
          </a:prstGeom>
          <a:ln>
            <a:solidFill>
              <a:schemeClr val="bg1"/>
            </a:solidFill>
          </a:ln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Things you’d better </a:t>
            </a:r>
            <a:r>
              <a:rPr kumimoji="0" lang="en-US" altLang="en-US" sz="4000" b="1" i="1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must</a:t>
            </a:r>
            <a:r>
              <a:rPr kumimoji="0" lang="en-US" altLang="en-US" sz="4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en-US" altLang="en-US" sz="8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Consolas" panose="020B0609020204030204" pitchFamily="49" charset="0"/>
              </a:rPr>
              <a:t>know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</a:p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before next lecture</a:t>
            </a: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6C43FD49-BF08-4A01-BA66-11A1CC6AC051}"/>
              </a:ext>
            </a:extLst>
          </p:cNvPr>
          <p:cNvCxnSpPr>
            <a:cxnSpLocks/>
          </p:cNvCxnSpPr>
          <p:nvPr/>
        </p:nvCxnSpPr>
        <p:spPr>
          <a:xfrm>
            <a:off x="4052455" y="1961804"/>
            <a:ext cx="2759825" cy="57357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BDD24429-86CF-48A1-BD30-A9663FFE8798}"/>
              </a:ext>
            </a:extLst>
          </p:cNvPr>
          <p:cNvCxnSpPr>
            <a:cxnSpLocks/>
          </p:cNvCxnSpPr>
          <p:nvPr/>
        </p:nvCxnSpPr>
        <p:spPr>
          <a:xfrm flipV="1">
            <a:off x="4094018" y="1961804"/>
            <a:ext cx="2718262" cy="57357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7" name="文本框 16">
            <a:extLst>
              <a:ext uri="{FF2B5EF4-FFF2-40B4-BE49-F238E27FC236}">
                <a16:creationId xmlns:a16="http://schemas.microsoft.com/office/drawing/2014/main" id="{1C2EC4D1-1CA3-4378-9E50-B3B8B2198DD8}"/>
              </a:ext>
            </a:extLst>
          </p:cNvPr>
          <p:cNvSpPr txBox="1"/>
          <p:nvPr/>
        </p:nvSpPr>
        <p:spPr>
          <a:xfrm>
            <a:off x="2652659" y="4069081"/>
            <a:ext cx="702425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ln>
                  <a:solidFill>
                    <a:schemeClr val="accent4">
                      <a:lumMod val="75000"/>
                    </a:schemeClr>
                  </a:solidFill>
                </a:ln>
                <a:solidFill>
                  <a:srgbClr val="996633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  <a:latin typeface="Constantia" panose="02030602050306030303" pitchFamily="18" charset="0"/>
              </a:rPr>
              <a:t>What is image classification? </a:t>
            </a:r>
          </a:p>
          <a:p>
            <a:pPr algn="ctr"/>
            <a:r>
              <a:rPr lang="en-US" altLang="zh-CN" sz="3200" b="1" dirty="0">
                <a:ln>
                  <a:solidFill>
                    <a:schemeClr val="accent4">
                      <a:lumMod val="75000"/>
                    </a:schemeClr>
                  </a:solidFill>
                </a:ln>
                <a:solidFill>
                  <a:srgbClr val="996633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  <a:latin typeface="Constantia" panose="02030602050306030303" pitchFamily="18" charset="0"/>
              </a:rPr>
              <a:t>Any related algorithm?</a:t>
            </a:r>
          </a:p>
        </p:txBody>
      </p:sp>
    </p:spTree>
    <p:extLst>
      <p:ext uri="{BB962C8B-B14F-4D97-AF65-F5344CB8AC3E}">
        <p14:creationId xmlns:p14="http://schemas.microsoft.com/office/powerpoint/2010/main" val="28392801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C4B4A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028830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4000" b="1" dirty="0">
                <a:solidFill>
                  <a:srgbClr val="FFFFFF"/>
                </a:solidFill>
                <a:latin typeface="Consolas" panose="020B0609020204030204" pitchFamily="49" charset="0"/>
              </a:rPr>
              <a:t>s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td::</a:t>
            </a:r>
            <a:r>
              <a:rPr kumimoji="0" lang="en-US" alt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quick_exit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(0);</a:t>
            </a:r>
          </a:p>
        </p:txBody>
      </p:sp>
    </p:spTree>
    <p:extLst>
      <p:ext uri="{BB962C8B-B14F-4D97-AF65-F5344CB8AC3E}">
        <p14:creationId xmlns:p14="http://schemas.microsoft.com/office/powerpoint/2010/main" val="3394775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BBBCBE-6CB2-43A1-A956-EBC525673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1532" y="362129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2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Today, you’ll learn:</a:t>
            </a:r>
            <a:endParaRPr lang="zh-CN" altLang="en-US" sz="2800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nstantia" panose="02030602050306030303" pitchFamily="18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AC23039-6D35-4FF4-A5CC-E3FABA93C6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1532" y="2922026"/>
            <a:ext cx="9969189" cy="3306683"/>
          </a:xfrm>
        </p:spPr>
        <p:txBody>
          <a:bodyPr>
            <a:norm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Image quantization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OpenCV’s default memory layout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Thresholding.</a:t>
            </a:r>
          </a:p>
        </p:txBody>
      </p:sp>
    </p:spTree>
    <p:extLst>
      <p:ext uri="{BB962C8B-B14F-4D97-AF65-F5344CB8AC3E}">
        <p14:creationId xmlns:p14="http://schemas.microsoft.com/office/powerpoint/2010/main" val="6616190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n Imag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320CF2F-B656-41C0-86C9-97B28140C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hat do u think of an image in </a:t>
            </a:r>
            <a:r>
              <a:rPr lang="en-US" altLang="zh-CN" i="1" dirty="0"/>
              <a:t>an academic way</a:t>
            </a:r>
            <a:endParaRPr lang="zh-CN" altLang="en-US" i="1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1920974-0DF9-4B5C-9DD0-3AA04D3CE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F76D6B4-C5C0-45FB-BAAD-67A5228E31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2761760"/>
            <a:ext cx="2296946" cy="2451054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7C74941F-0B54-488F-A5FC-E614960F330A}"/>
              </a:ext>
            </a:extLst>
          </p:cNvPr>
          <p:cNvSpPr txBox="1"/>
          <p:nvPr/>
        </p:nvSpPr>
        <p:spPr>
          <a:xfrm>
            <a:off x="3808636" y="124691"/>
            <a:ext cx="4070345" cy="77251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9600" b="1" dirty="0"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</a:rPr>
              <a:t>?</a:t>
            </a:r>
            <a:endParaRPr lang="zh-CN" altLang="en-US" sz="49600" b="1" dirty="0">
              <a:effectLst>
                <a:glow rad="228600">
                  <a:schemeClr val="accent5">
                    <a:satMod val="175000"/>
                    <a:alpha val="40000"/>
                  </a:schemeClr>
                </a:glow>
              </a:effectLst>
            </a:endParaRPr>
          </a:p>
        </p:txBody>
      </p:sp>
      <p:sp>
        <p:nvSpPr>
          <p:cNvPr id="7" name="云形 6">
            <a:extLst>
              <a:ext uri="{FF2B5EF4-FFF2-40B4-BE49-F238E27FC236}">
                <a16:creationId xmlns:a16="http://schemas.microsoft.com/office/drawing/2014/main" id="{39255704-BE13-48CC-A2FA-0CADB2104A92}"/>
              </a:ext>
            </a:extLst>
          </p:cNvPr>
          <p:cNvSpPr/>
          <p:nvPr/>
        </p:nvSpPr>
        <p:spPr>
          <a:xfrm>
            <a:off x="1818397" y="1097279"/>
            <a:ext cx="4181302" cy="2015837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i="1" dirty="0">
                <a:latin typeface="黑体" panose="02010609060101010101" pitchFamily="49" charset="-122"/>
                <a:ea typeface="黑体" panose="02010609060101010101" pitchFamily="49" charset="-122"/>
              </a:rPr>
              <a:t>我盲猜是一个矩阵，这个</a:t>
            </a:r>
            <a:endParaRPr lang="en-US" altLang="zh-CN" i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r>
              <a:rPr lang="zh-CN" altLang="en-US" i="1" dirty="0">
                <a:latin typeface="黑体" panose="02010609060101010101" pitchFamily="49" charset="-122"/>
                <a:ea typeface="黑体" panose="02010609060101010101" pitchFamily="49" charset="-122"/>
              </a:rPr>
              <a:t>矩阵的每个元素值的范围</a:t>
            </a:r>
            <a:endParaRPr lang="en-US" altLang="zh-CN" i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r>
              <a:rPr lang="zh-CN" altLang="en-US" i="1" dirty="0">
                <a:latin typeface="黑体" panose="02010609060101010101" pitchFamily="49" charset="-122"/>
                <a:ea typeface="黑体" panose="02010609060101010101" pitchFamily="49" charset="-122"/>
              </a:rPr>
              <a:t>是</a:t>
            </a:r>
            <a:r>
              <a:rPr lang="en-US" altLang="zh-CN" i="1" dirty="0">
                <a:latin typeface="黑体" panose="02010609060101010101" pitchFamily="49" charset="-122"/>
                <a:ea typeface="黑体" panose="02010609060101010101" pitchFamily="49" charset="-122"/>
              </a:rPr>
              <a:t>0~255</a:t>
            </a:r>
            <a:endParaRPr lang="zh-CN" altLang="en-US" i="1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AD05D28-1C60-4AA4-AA35-AF474F781C32}"/>
              </a:ext>
            </a:extLst>
          </p:cNvPr>
          <p:cNvSpPr txBox="1"/>
          <p:nvPr/>
        </p:nvSpPr>
        <p:spPr>
          <a:xfrm>
            <a:off x="303415" y="5494712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一位不愿透露姓名的大帅哥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5FDA58DF-0EAA-435C-90AC-9499F96067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5189" y="2286418"/>
            <a:ext cx="3929091" cy="3781453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C9A43C8C-0AC9-47AA-89BB-6D1A8ABC25F2}"/>
              </a:ext>
            </a:extLst>
          </p:cNvPr>
          <p:cNvSpPr txBox="1"/>
          <p:nvPr/>
        </p:nvSpPr>
        <p:spPr>
          <a:xfrm>
            <a:off x="8032865" y="6077512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一位不愿透露姓名的科学家</a:t>
            </a:r>
          </a:p>
        </p:txBody>
      </p:sp>
      <p:sp>
        <p:nvSpPr>
          <p:cNvPr id="11" name="云形 10">
            <a:extLst>
              <a:ext uri="{FF2B5EF4-FFF2-40B4-BE49-F238E27FC236}">
                <a16:creationId xmlns:a16="http://schemas.microsoft.com/office/drawing/2014/main" id="{789D87E6-0EBF-4167-AC5E-780F630A256B}"/>
              </a:ext>
            </a:extLst>
          </p:cNvPr>
          <p:cNvSpPr/>
          <p:nvPr/>
        </p:nvSpPr>
        <p:spPr>
          <a:xfrm>
            <a:off x="6243539" y="790129"/>
            <a:ext cx="4181302" cy="2015837"/>
          </a:xfrm>
          <a:prstGeom prst="cloud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i="1" dirty="0">
                <a:latin typeface="黑体" panose="02010609060101010101" pitchFamily="49" charset="-122"/>
                <a:ea typeface="黑体" panose="02010609060101010101" pitchFamily="49" charset="-122"/>
              </a:rPr>
              <a:t>FNMDP.</a:t>
            </a:r>
            <a:r>
              <a:rPr lang="zh-CN" altLang="en-US" i="1" dirty="0">
                <a:latin typeface="黑体" panose="02010609060101010101" pitchFamily="49" charset="-122"/>
                <a:ea typeface="黑体" panose="02010609060101010101" pitchFamily="49" charset="-122"/>
              </a:rPr>
              <a:t>一个图像只是一个函数而已。你说的这种情况是量化后的结果。</a:t>
            </a:r>
          </a:p>
        </p:txBody>
      </p:sp>
    </p:spTree>
    <p:extLst>
      <p:ext uri="{BB962C8B-B14F-4D97-AF65-F5344CB8AC3E}">
        <p14:creationId xmlns:p14="http://schemas.microsoft.com/office/powerpoint/2010/main" val="2768133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/>
      <p:bldP spid="10" grpId="0"/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3AD7C19-A617-410A-8FBB-7D5CB4D774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or a</a:t>
            </a:r>
            <a:r>
              <a:rPr lang="zh-CN" altLang="en-US" dirty="0"/>
              <a:t> </a:t>
            </a:r>
            <a:r>
              <a:rPr lang="en-US" altLang="zh-CN" dirty="0"/>
              <a:t>2D imag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57E604A-4466-44B1-A67D-F539C96C2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B6F25420-CD00-4645-878E-D04D64E67BD6}"/>
                  </a:ext>
                </a:extLst>
              </p:cNvPr>
              <p:cNvSpPr txBox="1"/>
              <p:nvPr/>
            </p:nvSpPr>
            <p:spPr>
              <a:xfrm>
                <a:off x="3784252" y="1563239"/>
                <a:ext cx="115820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B6F25420-CD00-4645-878E-D04D64E67B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84252" y="1563239"/>
                <a:ext cx="1158202" cy="276999"/>
              </a:xfrm>
              <a:prstGeom prst="rect">
                <a:avLst/>
              </a:prstGeom>
              <a:blipFill>
                <a:blip r:embed="rId2"/>
                <a:stretch>
                  <a:fillRect l="-2105" r="-6316" b="-3478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文本框 6">
            <a:extLst>
              <a:ext uri="{FF2B5EF4-FFF2-40B4-BE49-F238E27FC236}">
                <a16:creationId xmlns:a16="http://schemas.microsoft.com/office/drawing/2014/main" id="{F6E59054-885F-43A4-B469-699CDF11DAA7}"/>
              </a:ext>
            </a:extLst>
          </p:cNvPr>
          <p:cNvSpPr txBox="1"/>
          <p:nvPr/>
        </p:nvSpPr>
        <p:spPr>
          <a:xfrm>
            <a:off x="727364" y="1517073"/>
            <a:ext cx="5532284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 real world, what we see is</a:t>
            </a:r>
          </a:p>
          <a:p>
            <a:endParaRPr lang="en-US" altLang="zh-CN" dirty="0"/>
          </a:p>
          <a:p>
            <a:r>
              <a:rPr lang="en-US" altLang="zh-CN" dirty="0"/>
              <a:t>Where z is the value representing the color of (x, y) .</a:t>
            </a:r>
          </a:p>
          <a:p>
            <a:endParaRPr lang="en-US" altLang="zh-CN" dirty="0"/>
          </a:p>
          <a:p>
            <a:r>
              <a:rPr lang="en-US" altLang="zh-CN" dirty="0"/>
              <a:t>However the range of z is </a:t>
            </a:r>
            <a:r>
              <a:rPr lang="en-US" altLang="zh-CN" sz="2400" b="1" i="1" u="sng" dirty="0"/>
              <a:t>infinite</a:t>
            </a:r>
            <a:r>
              <a:rPr lang="en-US" altLang="zh-CN" dirty="0"/>
              <a:t>.</a:t>
            </a:r>
          </a:p>
          <a:p>
            <a:endParaRPr lang="en-US" altLang="zh-CN" dirty="0"/>
          </a:p>
          <a:p>
            <a:r>
              <a:rPr lang="en-US" altLang="zh-CN" dirty="0"/>
              <a:t>Of course x &amp; y are </a:t>
            </a:r>
            <a:r>
              <a:rPr lang="en-US" altLang="zh-CN" sz="2400" b="1" i="1" u="sng" dirty="0"/>
              <a:t>infinite</a:t>
            </a:r>
            <a:r>
              <a:rPr lang="en-US" altLang="zh-CN" dirty="0"/>
              <a:t>, as well.</a:t>
            </a:r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96685C8B-E07F-4521-8394-EC3B3B21E3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0513" y="1028700"/>
            <a:ext cx="5033999" cy="5562641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51E04DD6-6000-4E23-BB55-66FB911B4139}"/>
              </a:ext>
            </a:extLst>
          </p:cNvPr>
          <p:cNvSpPr txBox="1"/>
          <p:nvPr/>
        </p:nvSpPr>
        <p:spPr>
          <a:xfrm>
            <a:off x="669924" y="4655127"/>
            <a:ext cx="544251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Memory is not infinite, so we need to quantify them.</a:t>
            </a:r>
          </a:p>
          <a:p>
            <a:endParaRPr lang="en-US" altLang="zh-CN" dirty="0"/>
          </a:p>
          <a:p>
            <a:r>
              <a:rPr lang="en-US" altLang="zh-CN" dirty="0"/>
              <a:t>Like this…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33ED638-C354-458C-900A-2BF84FB264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389" y="1028700"/>
            <a:ext cx="4625404" cy="565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490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F5401D7-C8E4-4C13-8817-85C2586C0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Quantization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254426B-454B-4372-88E8-83C63A335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7F27893-A804-4078-8686-6F28FEC17FF2}"/>
              </a:ext>
            </a:extLst>
          </p:cNvPr>
          <p:cNvSpPr txBox="1"/>
          <p:nvPr/>
        </p:nvSpPr>
        <p:spPr>
          <a:xfrm>
            <a:off x="723956" y="1065878"/>
            <a:ext cx="87616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Infinite z(color) ?       =&gt;    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effectLst>
                  <a:glow rad="101600">
                    <a:schemeClr val="accent3">
                      <a:satMod val="175000"/>
                      <a:alpha val="40000"/>
                    </a:schemeClr>
                  </a:glow>
                </a:effectLst>
                <a:latin typeface="Consolas" panose="020B0609020204030204" pitchFamily="49" charset="0"/>
              </a:rPr>
              <a:t>Limited colors</a:t>
            </a:r>
            <a:endParaRPr lang="en-US" altLang="zh-CN" dirty="0"/>
          </a:p>
          <a:p>
            <a:r>
              <a:rPr lang="en-US" altLang="zh-CN" dirty="0"/>
              <a:t>Infinite </a:t>
            </a:r>
            <a:r>
              <a:rPr lang="en-US" altLang="zh-CN" dirty="0" err="1"/>
              <a:t>x&amp;y</a:t>
            </a:r>
            <a:r>
              <a:rPr lang="en-US" altLang="zh-CN" dirty="0"/>
              <a:t>(space) ? =&gt;    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effectLst>
                  <a:glow rad="101600">
                    <a:schemeClr val="accent3">
                      <a:satMod val="175000"/>
                      <a:alpha val="40000"/>
                    </a:schemeClr>
                  </a:glow>
                </a:effectLst>
                <a:latin typeface="Consolas" panose="020B0609020204030204" pitchFamily="49" charset="0"/>
              </a:rPr>
              <a:t>Limited elements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9C44D50-9FDD-47F2-8824-61C7BE7AA347}"/>
              </a:ext>
            </a:extLst>
          </p:cNvPr>
          <p:cNvSpPr txBox="1"/>
          <p:nvPr/>
        </p:nvSpPr>
        <p:spPr>
          <a:xfrm>
            <a:off x="1776094" y="1918790"/>
            <a:ext cx="8289449" cy="2308324"/>
          </a:xfrm>
          <a:prstGeom prst="rect">
            <a:avLst/>
          </a:prstGeom>
          <a:effectLst>
            <a:glow rad="1397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altLang="zh-CN" dirty="0"/>
              <a:t>Traditional approach of </a:t>
            </a:r>
            <a:r>
              <a:rPr lang="en-US" altLang="zh-CN" b="1" dirty="0"/>
              <a:t>Color Quantization</a:t>
            </a:r>
            <a:r>
              <a:rPr lang="en-US" altLang="zh-CN" dirty="0"/>
              <a:t>:</a:t>
            </a:r>
          </a:p>
          <a:p>
            <a:endParaRPr lang="en-US" altLang="zh-CN" dirty="0"/>
          </a:p>
          <a:p>
            <a:r>
              <a:rPr lang="en-US" altLang="zh-CN" dirty="0"/>
              <a:t>Use 3 value representing </a:t>
            </a:r>
            <a:r>
              <a:rPr lang="en-US" altLang="zh-CN" b="1" dirty="0"/>
              <a:t>3 color </a:t>
            </a:r>
            <a:r>
              <a:rPr lang="en-US" altLang="zh-CN" dirty="0"/>
              <a:t>weights. =&gt; (Usually RGB(Red, Green, Blue))</a:t>
            </a:r>
          </a:p>
          <a:p>
            <a:r>
              <a:rPr lang="en-US" altLang="zh-CN" dirty="0"/>
              <a:t>For each value we use only </a:t>
            </a:r>
            <a:r>
              <a:rPr lang="en-US" altLang="zh-CN" b="1" dirty="0"/>
              <a:t>8 bits(1 byte: 0~255).</a:t>
            </a:r>
          </a:p>
          <a:p>
            <a:endParaRPr lang="en-US" altLang="zh-CN" b="1" dirty="0"/>
          </a:p>
          <a:p>
            <a:r>
              <a:rPr lang="en-US" altLang="zh-CN" b="1" dirty="0"/>
              <a:t>	  (B,    G,    R    )</a:t>
            </a:r>
          </a:p>
          <a:p>
            <a:r>
              <a:rPr lang="en-US" altLang="zh-CN" b="1" dirty="0"/>
              <a:t>White =&gt; (255, 255, 255)</a:t>
            </a:r>
          </a:p>
          <a:p>
            <a:r>
              <a:rPr lang="en-US" altLang="zh-CN" b="1" dirty="0"/>
              <a:t>Black =&gt; (0,     0,     0    )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A6F103A-BC04-4F1B-9221-EB1A3F4C7C4F}"/>
              </a:ext>
            </a:extLst>
          </p:cNvPr>
          <p:cNvSpPr txBox="1"/>
          <p:nvPr/>
        </p:nvSpPr>
        <p:spPr>
          <a:xfrm>
            <a:off x="1776093" y="4376933"/>
            <a:ext cx="8289448" cy="2308324"/>
          </a:xfrm>
          <a:prstGeom prst="rect">
            <a:avLst/>
          </a:prstGeom>
          <a:effectLst>
            <a:glow rad="1397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zh-CN" dirty="0"/>
              <a:t>Traditional approach of </a:t>
            </a:r>
            <a:r>
              <a:rPr lang="en-US" altLang="zh-CN" b="1" dirty="0"/>
              <a:t>Space Quantization</a:t>
            </a:r>
            <a:r>
              <a:rPr lang="en-US" altLang="zh-CN" dirty="0"/>
              <a:t>:</a:t>
            </a:r>
          </a:p>
          <a:p>
            <a:endParaRPr lang="en-US" altLang="zh-CN" dirty="0"/>
          </a:p>
          <a:p>
            <a:r>
              <a:rPr lang="en-US" altLang="zh-CN" dirty="0"/>
              <a:t>According to your choices.</a:t>
            </a:r>
          </a:p>
          <a:p>
            <a:endParaRPr lang="en-US" altLang="zh-CN" dirty="0"/>
          </a:p>
          <a:p>
            <a:r>
              <a:rPr lang="en-US" altLang="zh-CN" dirty="0"/>
              <a:t>     </a:t>
            </a:r>
            <a:r>
              <a:rPr lang="en-US" altLang="zh-CN" i="1" dirty="0"/>
              <a:t>(width x height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dirty="0"/>
              <a:t>  640   x  480   =&gt; 480  p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dirty="0"/>
              <a:t>  1280 x  720   =&gt; 720  p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dirty="0"/>
              <a:t>  1920 x  1080 =&gt; 1080p</a:t>
            </a:r>
          </a:p>
        </p:txBody>
      </p:sp>
      <p:sp>
        <p:nvSpPr>
          <p:cNvPr id="8" name="矩形: 折角 7">
            <a:extLst>
              <a:ext uri="{FF2B5EF4-FFF2-40B4-BE49-F238E27FC236}">
                <a16:creationId xmlns:a16="http://schemas.microsoft.com/office/drawing/2014/main" id="{DA7BB531-F70C-4549-A018-4AE3C95E861E}"/>
              </a:ext>
            </a:extLst>
          </p:cNvPr>
          <p:cNvSpPr/>
          <p:nvPr/>
        </p:nvSpPr>
        <p:spPr>
          <a:xfrm>
            <a:off x="8558156" y="344947"/>
            <a:ext cx="2909888" cy="1028699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accent2">
                    <a:lumMod val="40000"/>
                    <a:lumOff val="60000"/>
                  </a:schemeClr>
                </a:solidFill>
                <a:latin typeface="华文仿宋" panose="02010600040101010101" pitchFamily="2" charset="-122"/>
                <a:ea typeface="华文仿宋" panose="02010600040101010101" pitchFamily="2" charset="-122"/>
              </a:rPr>
              <a:t>相关课程：</a:t>
            </a:r>
            <a:endParaRPr lang="en-US" altLang="zh-CN" dirty="0">
              <a:solidFill>
                <a:schemeClr val="accent2">
                  <a:lumMod val="40000"/>
                  <a:lumOff val="60000"/>
                </a:schemeClr>
              </a:solidFill>
              <a:latin typeface="华文仿宋" panose="02010600040101010101" pitchFamily="2" charset="-122"/>
              <a:ea typeface="华文仿宋" panose="02010600040101010101" pitchFamily="2" charset="-122"/>
            </a:endParaRPr>
          </a:p>
          <a:p>
            <a:pPr algn="ctr"/>
            <a:r>
              <a:rPr lang="zh-CN" altLang="en-US" dirty="0">
                <a:solidFill>
                  <a:schemeClr val="accent2">
                    <a:lumMod val="40000"/>
                    <a:lumOff val="60000"/>
                  </a:schemeClr>
                </a:solidFill>
                <a:latin typeface="华文仿宋" panose="02010600040101010101" pitchFamily="2" charset="-122"/>
                <a:ea typeface="华文仿宋" panose="02010600040101010101" pitchFamily="2" charset="-122"/>
              </a:rPr>
              <a:t>何良华：图像处理</a:t>
            </a:r>
            <a:endParaRPr lang="en-US" altLang="zh-CN" dirty="0">
              <a:solidFill>
                <a:schemeClr val="accent2">
                  <a:lumMod val="40000"/>
                  <a:lumOff val="60000"/>
                </a:schemeClr>
              </a:solidFill>
              <a:latin typeface="华文仿宋" panose="02010600040101010101" pitchFamily="2" charset="-122"/>
              <a:ea typeface="华文仿宋" panose="02010600040101010101" pitchFamily="2" charset="-122"/>
            </a:endParaRPr>
          </a:p>
          <a:p>
            <a:pPr algn="ctr"/>
            <a:r>
              <a:rPr lang="zh-CN" altLang="en-US" dirty="0">
                <a:solidFill>
                  <a:schemeClr val="accent2">
                    <a:lumMod val="40000"/>
                    <a:lumOff val="60000"/>
                  </a:schemeClr>
                </a:solidFill>
                <a:latin typeface="华文仿宋" panose="02010600040101010101" pitchFamily="2" charset="-122"/>
                <a:ea typeface="华文仿宋" panose="02010600040101010101" pitchFamily="2" charset="-122"/>
              </a:rPr>
              <a:t>王翰漓：多媒体技术基础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8EB100EE-2C2B-4F1F-9C22-2444E301E3E1}"/>
              </a:ext>
            </a:extLst>
          </p:cNvPr>
          <p:cNvSpPr/>
          <p:nvPr/>
        </p:nvSpPr>
        <p:spPr>
          <a:xfrm>
            <a:off x="6209607" y="3383280"/>
            <a:ext cx="523702" cy="4281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59884296-816F-48D7-BE07-FEF1EEFA6C50}"/>
              </a:ext>
            </a:extLst>
          </p:cNvPr>
          <p:cNvSpPr/>
          <p:nvPr/>
        </p:nvSpPr>
        <p:spPr>
          <a:xfrm>
            <a:off x="7257011" y="3383278"/>
            <a:ext cx="523702" cy="42810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2B472391-B0B4-4173-B05F-E238F1802A94}"/>
              </a:ext>
            </a:extLst>
          </p:cNvPr>
          <p:cNvSpPr/>
          <p:nvPr/>
        </p:nvSpPr>
        <p:spPr>
          <a:xfrm>
            <a:off x="6733309" y="3383279"/>
            <a:ext cx="523702" cy="42810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088080EF-81C6-476E-8591-EF9BE6E6E473}"/>
              </a:ext>
            </a:extLst>
          </p:cNvPr>
          <p:cNvCxnSpPr>
            <a:cxnSpLocks/>
          </p:cNvCxnSpPr>
          <p:nvPr/>
        </p:nvCxnSpPr>
        <p:spPr>
          <a:xfrm flipV="1">
            <a:off x="7182196" y="3360213"/>
            <a:ext cx="3275215" cy="33321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5" name="文本框 14">
            <a:extLst>
              <a:ext uri="{FF2B5EF4-FFF2-40B4-BE49-F238E27FC236}">
                <a16:creationId xmlns:a16="http://schemas.microsoft.com/office/drawing/2014/main" id="{6F12CFB9-0DDE-4E32-BB55-FEDE916F514F}"/>
              </a:ext>
            </a:extLst>
          </p:cNvPr>
          <p:cNvSpPr txBox="1"/>
          <p:nvPr/>
        </p:nvSpPr>
        <p:spPr>
          <a:xfrm>
            <a:off x="10508248" y="3076560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ne pixel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48957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efault memory Layout of OpenCV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FBF5271-FB10-4086-B31F-13BD8B5D5F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06021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99A836F-72DF-4F95-B8BA-4D6E18AD9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718" y="-30209"/>
            <a:ext cx="10850563" cy="1028699"/>
          </a:xfrm>
        </p:spPr>
        <p:txBody>
          <a:bodyPr/>
          <a:lstStyle/>
          <a:p>
            <a:r>
              <a:rPr lang="en-US" altLang="zh-CN" dirty="0"/>
              <a:t>OpenCV IO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9210F58-61D4-47DD-BB9F-79B1CB3F5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B64C72D0-5BD8-4C69-B52F-3471FDEED8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2103" y="1741334"/>
            <a:ext cx="8953565" cy="3610001"/>
          </a:xfrm>
          <a:prstGeom prst="rect">
            <a:avLst/>
          </a:prstGeom>
        </p:spPr>
      </p:pic>
      <p:sp>
        <p:nvSpPr>
          <p:cNvPr id="25" name="矩形 24">
            <a:extLst>
              <a:ext uri="{FF2B5EF4-FFF2-40B4-BE49-F238E27FC236}">
                <a16:creationId xmlns:a16="http://schemas.microsoft.com/office/drawing/2014/main" id="{D58E63CC-1721-4781-A68A-9A19FC6E02BB}"/>
              </a:ext>
            </a:extLst>
          </p:cNvPr>
          <p:cNvSpPr/>
          <p:nvPr/>
        </p:nvSpPr>
        <p:spPr>
          <a:xfrm>
            <a:off x="2453234" y="5764562"/>
            <a:ext cx="84952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3"/>
              </a:rPr>
              <a:t>https://www.ccoderun.ca/programming/doxygen/opencv/classcv_1_1Mat.html</a:t>
            </a:r>
            <a:endParaRPr lang="zh-CN" altLang="en-US" dirty="0"/>
          </a:p>
        </p:txBody>
      </p: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34CDD709-440B-4A2B-9FA7-F5CF80B59373}"/>
              </a:ext>
            </a:extLst>
          </p:cNvPr>
          <p:cNvCxnSpPr/>
          <p:nvPr/>
        </p:nvCxnSpPr>
        <p:spPr>
          <a:xfrm flipV="1">
            <a:off x="5247685" y="2484255"/>
            <a:ext cx="1638637" cy="13149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57C867FD-6445-4ED0-9AD3-A2EEDA3A4225}"/>
              </a:ext>
            </a:extLst>
          </p:cNvPr>
          <p:cNvSpPr txBox="1"/>
          <p:nvPr/>
        </p:nvSpPr>
        <p:spPr>
          <a:xfrm>
            <a:off x="7189773" y="2168665"/>
            <a:ext cx="324960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92D050"/>
                </a:solidFill>
              </a:rPr>
              <a:t>Read in 3-channel by  default.</a:t>
            </a:r>
          </a:p>
          <a:p>
            <a:endParaRPr lang="en-US" altLang="zh-CN" dirty="0">
              <a:solidFill>
                <a:srgbClr val="92D050"/>
              </a:solidFill>
            </a:endParaRPr>
          </a:p>
          <a:p>
            <a:r>
              <a:rPr lang="en-US" altLang="zh-CN" dirty="0">
                <a:solidFill>
                  <a:srgbClr val="92D050"/>
                </a:solidFill>
              </a:rPr>
              <a:t>In 1-channel and </a:t>
            </a:r>
            <a:r>
              <a:rPr lang="en-US" altLang="zh-CN" dirty="0" err="1">
                <a:solidFill>
                  <a:srgbClr val="92D050"/>
                </a:solidFill>
              </a:rPr>
              <a:t>cvt</a:t>
            </a:r>
            <a:r>
              <a:rPr lang="en-US" altLang="zh-CN" dirty="0">
                <a:solidFill>
                  <a:srgbClr val="92D050"/>
                </a:solidFill>
              </a:rPr>
              <a:t> it to gray.</a:t>
            </a:r>
          </a:p>
        </p:txBody>
      </p:sp>
      <p:cxnSp>
        <p:nvCxnSpPr>
          <p:cNvPr id="29" name="直接箭头连接符 28">
            <a:extLst>
              <a:ext uri="{FF2B5EF4-FFF2-40B4-BE49-F238E27FC236}">
                <a16:creationId xmlns:a16="http://schemas.microsoft.com/office/drawing/2014/main" id="{12265F9C-D8C6-4048-9269-BED8408DC1A5}"/>
              </a:ext>
            </a:extLst>
          </p:cNvPr>
          <p:cNvCxnSpPr>
            <a:cxnSpLocks/>
          </p:cNvCxnSpPr>
          <p:nvPr/>
        </p:nvCxnSpPr>
        <p:spPr>
          <a:xfrm flipV="1">
            <a:off x="5512699" y="2856488"/>
            <a:ext cx="1373623" cy="109684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矩形 30">
            <a:extLst>
              <a:ext uri="{FF2B5EF4-FFF2-40B4-BE49-F238E27FC236}">
                <a16:creationId xmlns:a16="http://schemas.microsoft.com/office/drawing/2014/main" id="{A9FE0CA2-E40B-4D3E-9931-88B0B4833FDC}"/>
              </a:ext>
            </a:extLst>
          </p:cNvPr>
          <p:cNvSpPr/>
          <p:nvPr/>
        </p:nvSpPr>
        <p:spPr>
          <a:xfrm>
            <a:off x="5247685" y="3905780"/>
            <a:ext cx="1703373" cy="237342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2" name="直接箭头连接符 31">
            <a:extLst>
              <a:ext uri="{FF2B5EF4-FFF2-40B4-BE49-F238E27FC236}">
                <a16:creationId xmlns:a16="http://schemas.microsoft.com/office/drawing/2014/main" id="{9564B514-923B-4740-B65A-5999B886EFB1}"/>
              </a:ext>
            </a:extLst>
          </p:cNvPr>
          <p:cNvCxnSpPr>
            <a:cxnSpLocks/>
          </p:cNvCxnSpPr>
          <p:nvPr/>
        </p:nvCxnSpPr>
        <p:spPr>
          <a:xfrm flipH="1" flipV="1">
            <a:off x="1395876" y="2253632"/>
            <a:ext cx="1112655" cy="16147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6" name="文本框 35">
            <a:extLst>
              <a:ext uri="{FF2B5EF4-FFF2-40B4-BE49-F238E27FC236}">
                <a16:creationId xmlns:a16="http://schemas.microsoft.com/office/drawing/2014/main" id="{834DC61C-3467-4585-8CF4-DC60247EDB5A}"/>
              </a:ext>
            </a:extLst>
          </p:cNvPr>
          <p:cNvSpPr txBox="1"/>
          <p:nvPr/>
        </p:nvSpPr>
        <p:spPr>
          <a:xfrm>
            <a:off x="589695" y="1884300"/>
            <a:ext cx="1413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0B050"/>
                </a:solidFill>
              </a:rPr>
              <a:t>cv::Mat</a:t>
            </a:r>
            <a:endParaRPr lang="zh-CN" altLang="en-US" dirty="0">
              <a:solidFill>
                <a:srgbClr val="00B050"/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564B4B58-02C2-4982-8A91-DB7575E3409A}"/>
              </a:ext>
            </a:extLst>
          </p:cNvPr>
          <p:cNvSpPr/>
          <p:nvPr/>
        </p:nvSpPr>
        <p:spPr>
          <a:xfrm>
            <a:off x="2596207" y="3746638"/>
            <a:ext cx="806493" cy="418254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0585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31" grpId="0" animBg="1"/>
      <p:bldP spid="36" grpId="0"/>
      <p:bldP spid="3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D6B3F4D-672C-47C4-A589-3D349FA10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v::Mat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FF30CB4-35E5-4796-ADA0-CDFA654DE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CC9EFFC4-A9A6-4EC4-82EC-35C08A4B7FC9}"/>
              </a:ext>
            </a:extLst>
          </p:cNvPr>
          <p:cNvGraphicFramePr>
            <a:graphicFrameLocks noGrp="1"/>
          </p:cNvGraphicFramePr>
          <p:nvPr/>
        </p:nvGraphicFramePr>
        <p:xfrm>
          <a:off x="5703211" y="1409541"/>
          <a:ext cx="5817276" cy="4450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4773">
                  <a:extLst>
                    <a:ext uri="{9D8B030D-6E8A-4147-A177-3AD203B41FA5}">
                      <a16:colId xmlns:a16="http://schemas.microsoft.com/office/drawing/2014/main" val="294867325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70507595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3681241240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05634022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680655634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538408941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37164599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038307763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683982335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1246178916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151179042"/>
                    </a:ext>
                  </a:extLst>
                </a:gridCol>
                <a:gridCol w="484773">
                  <a:extLst>
                    <a:ext uri="{9D8B030D-6E8A-4147-A177-3AD203B41FA5}">
                      <a16:colId xmlns:a16="http://schemas.microsoft.com/office/drawing/2014/main" val="27784821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9108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601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16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3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499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825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633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643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724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3938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2026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/>
                      <a:lightRig rig="flood" dir="t"/>
                    </a:cell3D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622463"/>
                  </a:ext>
                </a:extLst>
              </a:tr>
            </a:tbl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B26E17DA-E27A-4161-A4CF-C75F07117287}"/>
              </a:ext>
            </a:extLst>
          </p:cNvPr>
          <p:cNvSpPr txBox="1"/>
          <p:nvPr/>
        </p:nvSpPr>
        <p:spPr>
          <a:xfrm>
            <a:off x="699960" y="1271976"/>
            <a:ext cx="4802623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i="1" dirty="0"/>
              <a:t>For image processing</a:t>
            </a:r>
            <a:r>
              <a:rPr lang="en-US" altLang="zh-CN" dirty="0"/>
              <a:t>: </a:t>
            </a:r>
            <a:r>
              <a:rPr lang="en-US" altLang="zh-CN" b="1" dirty="0"/>
              <a:t>BGR  </a:t>
            </a:r>
            <a:r>
              <a:rPr lang="en-US" altLang="zh-CN" dirty="0"/>
              <a:t>not RG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(N)WHC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N</a:t>
            </a:r>
            <a:r>
              <a:rPr lang="en-US" altLang="zh-CN" dirty="0"/>
              <a:t> =&gt; N imag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W</a:t>
            </a:r>
            <a:r>
              <a:rPr lang="en-US" altLang="zh-CN" dirty="0"/>
              <a:t> =&gt; Width ~ Colum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H </a:t>
            </a:r>
            <a:r>
              <a:rPr lang="en-US" altLang="zh-CN" dirty="0"/>
              <a:t>=&gt; Height ~ Ro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C</a:t>
            </a:r>
            <a:r>
              <a:rPr lang="en-US" altLang="zh-CN" dirty="0"/>
              <a:t> =&gt; Channel (</a:t>
            </a:r>
            <a:r>
              <a:rPr lang="en-US" altLang="zh-CN" dirty="0" err="1"/>
              <a:t>i.g</a:t>
            </a:r>
            <a:r>
              <a:rPr lang="en-US" altLang="zh-CN" dirty="0"/>
              <a:t>. BGR ~ 3 channe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CPU iteration</a:t>
            </a:r>
            <a:r>
              <a:rPr lang="en-US" altLang="zh-CN" dirty="0"/>
              <a:t>: by rows(fas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u="sng" dirty="0"/>
              <a:t>Continuous by r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dirty="0"/>
              <a:t>Everything is reference. </a:t>
            </a:r>
            <a:r>
              <a:rPr lang="en-US" altLang="zh-CN" dirty="0"/>
              <a:t>Want a copy? Call </a:t>
            </a:r>
            <a:r>
              <a:rPr lang="en-US" altLang="zh-CN" b="1" i="1" dirty="0"/>
              <a:t>cv::Mat::clone()</a:t>
            </a:r>
            <a:r>
              <a:rPr lang="en-US" altLang="zh-CN" i="1" dirty="0"/>
              <a:t>. </a:t>
            </a:r>
            <a:r>
              <a:rPr lang="en-US" altLang="zh-CN" dirty="0"/>
              <a:t>But I suggest that </a:t>
            </a:r>
            <a:r>
              <a:rPr lang="en-US" altLang="zh-CN" dirty="0" err="1"/>
              <a:t>u’d</a:t>
            </a:r>
            <a:r>
              <a:rPr lang="en-US" altLang="zh-CN" dirty="0"/>
              <a:t> better use reference assignment for readability and performance(cv::Mat uses a ref counting technology).</a:t>
            </a:r>
            <a:endParaRPr lang="en-US" altLang="zh-CN" b="1" dirty="0"/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CCF1AB83-34AF-4480-B7FD-5BFA573C8C89}"/>
              </a:ext>
            </a:extLst>
          </p:cNvPr>
          <p:cNvCxnSpPr/>
          <p:nvPr/>
        </p:nvCxnSpPr>
        <p:spPr>
          <a:xfrm flipV="1">
            <a:off x="5911232" y="1586039"/>
            <a:ext cx="5336697" cy="2832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C1982636-3A07-4767-9916-F62613669962}"/>
              </a:ext>
            </a:extLst>
          </p:cNvPr>
          <p:cNvCxnSpPr/>
          <p:nvPr/>
        </p:nvCxnSpPr>
        <p:spPr>
          <a:xfrm flipV="1">
            <a:off x="5942250" y="1928602"/>
            <a:ext cx="5336697" cy="2832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60556217-F351-4891-8C2B-A4F6ACC70798}"/>
              </a:ext>
            </a:extLst>
          </p:cNvPr>
          <p:cNvCxnSpPr/>
          <p:nvPr/>
        </p:nvCxnSpPr>
        <p:spPr>
          <a:xfrm flipV="1">
            <a:off x="5942250" y="2309443"/>
            <a:ext cx="5336697" cy="2832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矩形 12">
            <a:extLst>
              <a:ext uri="{FF2B5EF4-FFF2-40B4-BE49-F238E27FC236}">
                <a16:creationId xmlns:a16="http://schemas.microsoft.com/office/drawing/2014/main" id="{9F19443F-506E-49A2-9CD9-1527B0825CA3}"/>
              </a:ext>
            </a:extLst>
          </p:cNvPr>
          <p:cNvSpPr/>
          <p:nvPr/>
        </p:nvSpPr>
        <p:spPr>
          <a:xfrm>
            <a:off x="412230" y="6303454"/>
            <a:ext cx="61178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2"/>
              </a:rPr>
              <a:t>https://docs.opencv.org/3.1.0/d3/d63/classcv_1_1Mat.htm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54854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faeb3860-0e02-4cc6-9f56-79d398ebaa4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PLUS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557</TotalTime>
  <Words>828</Words>
  <Application>Microsoft Macintosh PowerPoint</Application>
  <PresentationFormat>宽屏</PresentationFormat>
  <Paragraphs>138</Paragraphs>
  <Slides>19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37" baseType="lpstr">
      <vt:lpstr>黑体</vt:lpstr>
      <vt:lpstr>华文仿宋</vt:lpstr>
      <vt:lpstr>宋体</vt:lpstr>
      <vt:lpstr>微软雅黑</vt:lpstr>
      <vt:lpstr>Segoe UI Light</vt:lpstr>
      <vt:lpstr>Arial</vt:lpstr>
      <vt:lpstr>Bookman Old Style</vt:lpstr>
      <vt:lpstr>Calibri</vt:lpstr>
      <vt:lpstr>Cambria Math</vt:lpstr>
      <vt:lpstr>Cascadia Code</vt:lpstr>
      <vt:lpstr>Consolas</vt:lpstr>
      <vt:lpstr>Constantia</vt:lpstr>
      <vt:lpstr>Courier New</vt:lpstr>
      <vt:lpstr>Impact</vt:lpstr>
      <vt:lpstr>Wingdings</vt:lpstr>
      <vt:lpstr>主题5</vt:lpstr>
      <vt:lpstr>OfficePLUS</vt:lpstr>
      <vt:lpstr>think-cell Slide</vt:lpstr>
      <vt:lpstr>SuperPower  Vision Group Team Training</vt:lpstr>
      <vt:lpstr>Today, you’ll learn:</vt:lpstr>
      <vt:lpstr>An Image</vt:lpstr>
      <vt:lpstr>What do u think of an image in an academic way</vt:lpstr>
      <vt:lpstr>For a 2D image</vt:lpstr>
      <vt:lpstr>Quantization.</vt:lpstr>
      <vt:lpstr>Default memory Layout of OpenCV</vt:lpstr>
      <vt:lpstr>OpenCV IO</vt:lpstr>
      <vt:lpstr>cv::Mat</vt:lpstr>
      <vt:lpstr>cv::Mat Iteration</vt:lpstr>
      <vt:lpstr>cv::Mat is just a big chunk of memory.  What it is depends on how U view it.</vt:lpstr>
      <vt:lpstr>OpenCV function style</vt:lpstr>
      <vt:lpstr>Thresholding</vt:lpstr>
      <vt:lpstr>Thresholding using Fixed Value</vt:lpstr>
      <vt:lpstr>What if we want the most “bright” pixels of a image</vt:lpstr>
      <vt:lpstr>PowerPoint 演示文稿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Microsoft Office User</cp:lastModifiedBy>
  <cp:revision>234</cp:revision>
  <cp:lastPrinted>2018-06-07T16:00:00Z</cp:lastPrinted>
  <dcterms:created xsi:type="dcterms:W3CDTF">2018-06-07T16:00:00Z</dcterms:created>
  <dcterms:modified xsi:type="dcterms:W3CDTF">2019-10-07T12:0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v-yunxl@microsoft.com</vt:lpwstr>
  </property>
  <property fmtid="{D5CDD505-2E9C-101B-9397-08002B2CF9AE}" pid="6" name="MSIP_Label_f42aa342-8706-4288-bd11-ebb85995028c_SetDate">
    <vt:lpwstr>2018-11-16T07:35:27.1720801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